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4" r:id="rId4"/>
    <p:sldMasterId id="2147483781" r:id="rId5"/>
  </p:sldMasterIdLst>
  <p:notesMasterIdLst>
    <p:notesMasterId r:id="rId9"/>
  </p:notesMasterIdLst>
  <p:handoutMasterIdLst>
    <p:handoutMasterId r:id="rId10"/>
  </p:handoutMasterIdLst>
  <p:sldIdLst>
    <p:sldId id="282" r:id="rId6"/>
    <p:sldId id="264" r:id="rId7"/>
    <p:sldId id="1465" r:id="rId8"/>
  </p:sldIdLst>
  <p:sldSz cx="12192000" cy="6858000"/>
  <p:notesSz cx="6797675" cy="9926638"/>
  <p:custDataLst>
    <p:tags r:id="rId1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71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hanna Haering" initials="JH" lastIdx="2" clrIdx="0">
    <p:extLst>
      <p:ext uri="{19B8F6BF-5375-455C-9EA6-DF929625EA0E}">
        <p15:presenceInfo xmlns:p15="http://schemas.microsoft.com/office/powerpoint/2012/main" userId="S::j.haering@landbellgroup.com::9069d003-7a8d-4baf-9d6e-6c7a9c5d2780" providerId="AD"/>
      </p:ext>
    </p:extLst>
  </p:cmAuthor>
  <p:cmAuthor id="2" name="Nick Purser" initials="NP" lastIdx="15" clrIdx="1">
    <p:extLst>
      <p:ext uri="{19B8F6BF-5375-455C-9EA6-DF929625EA0E}">
        <p15:presenceInfo xmlns:p15="http://schemas.microsoft.com/office/powerpoint/2012/main" userId="S::nick.purser@erp-recycling.org::d3f5345a-bd0b-4c16-a649-0b8d1a1823b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7F7F7F"/>
    <a:srgbClr val="CCECFF"/>
    <a:srgbClr val="F3FCFF"/>
    <a:srgbClr val="EFEFEF"/>
    <a:srgbClr val="FF3399"/>
    <a:srgbClr val="E7EAEC"/>
    <a:srgbClr val="404040"/>
    <a:srgbClr val="696969"/>
    <a:srgbClr val="5C5C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2A0D92-20D9-4ADC-BDCB-1FB2C5A4212B}" v="1" dt="2023-08-03T13:34:15.8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754" autoAdjust="0"/>
    <p:restoredTop sz="94660"/>
  </p:normalViewPr>
  <p:slideViewPr>
    <p:cSldViewPr snapToGrid="0" showGuides="1">
      <p:cViewPr varScale="1">
        <p:scale>
          <a:sx n="81" d="100"/>
          <a:sy n="81" d="100"/>
        </p:scale>
        <p:origin x="1224" y="62"/>
      </p:cViewPr>
      <p:guideLst>
        <p:guide orient="horz" pos="1071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5491"/>
    </p:cViewPr>
  </p:sorterViewPr>
  <p:notesViewPr>
    <p:cSldViewPr snapToGrid="0" showGuides="1">
      <p:cViewPr varScale="1">
        <p:scale>
          <a:sx n="43" d="100"/>
          <a:sy n="43" d="100"/>
        </p:scale>
        <p:origin x="2812" y="3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ytuel Irem Meyer" userId="3cde5c3a-4eb8-4676-8456-5f215dc3ff5a" providerId="ADAL" clId="{6A2A0D92-20D9-4ADC-BDCB-1FB2C5A4212B}"/>
    <pc:docChg chg="modSld">
      <pc:chgData name="Aytuel Irem Meyer" userId="3cde5c3a-4eb8-4676-8456-5f215dc3ff5a" providerId="ADAL" clId="{6A2A0D92-20D9-4ADC-BDCB-1FB2C5A4212B}" dt="2023-08-03T13:34:27.184" v="0" actId="207"/>
      <pc:docMkLst>
        <pc:docMk/>
      </pc:docMkLst>
      <pc:sldChg chg="modSp mod">
        <pc:chgData name="Aytuel Irem Meyer" userId="3cde5c3a-4eb8-4676-8456-5f215dc3ff5a" providerId="ADAL" clId="{6A2A0D92-20D9-4ADC-BDCB-1FB2C5A4212B}" dt="2023-08-03T13:34:27.184" v="0" actId="207"/>
        <pc:sldMkLst>
          <pc:docMk/>
          <pc:sldMk cId="2616846738" sldId="264"/>
        </pc:sldMkLst>
        <pc:spChg chg="mod">
          <ac:chgData name="Aytuel Irem Meyer" userId="3cde5c3a-4eb8-4676-8456-5f215dc3ff5a" providerId="ADAL" clId="{6A2A0D92-20D9-4ADC-BDCB-1FB2C5A4212B}" dt="2023-08-03T13:34:27.184" v="0" actId="207"/>
          <ac:spMkLst>
            <pc:docMk/>
            <pc:sldMk cId="2616846738" sldId="264"/>
            <ac:spMk id="20" creationId="{D5DF9448-DB1F-92AE-BAB4-110310F5E888}"/>
          </ac:spMkLst>
        </pc:spChg>
      </pc:sldChg>
    </pc:docChg>
  </pc:docChgLst>
  <pc:docChgLst>
    <pc:chgData name="Dora Caria" userId="754dbe49-0523-4672-aa20-98bbd91c49b6" providerId="ADAL" clId="{848C00D0-67FE-4F6A-904D-CB347F67B6FC}"/>
    <pc:docChg chg="undo custSel modSld">
      <pc:chgData name="Dora Caria" userId="754dbe49-0523-4672-aa20-98bbd91c49b6" providerId="ADAL" clId="{848C00D0-67FE-4F6A-904D-CB347F67B6FC}" dt="2023-07-11T15:44:50.095" v="983" actId="20577"/>
      <pc:docMkLst>
        <pc:docMk/>
      </pc:docMkLst>
      <pc:sldChg chg="addSp delSp modSp mod">
        <pc:chgData name="Dora Caria" userId="754dbe49-0523-4672-aa20-98bbd91c49b6" providerId="ADAL" clId="{848C00D0-67FE-4F6A-904D-CB347F67B6FC}" dt="2023-07-11T15:44:50.095" v="983" actId="20577"/>
        <pc:sldMkLst>
          <pc:docMk/>
          <pc:sldMk cId="2616846738" sldId="264"/>
        </pc:sldMkLst>
        <pc:spChg chg="add mod">
          <ac:chgData name="Dora Caria" userId="754dbe49-0523-4672-aa20-98bbd91c49b6" providerId="ADAL" clId="{848C00D0-67FE-4F6A-904D-CB347F67B6FC}" dt="2023-07-11T15:31:49.421" v="431" actId="14100"/>
          <ac:spMkLst>
            <pc:docMk/>
            <pc:sldMk cId="2616846738" sldId="264"/>
            <ac:spMk id="2" creationId="{5ECE1F84-D388-3B34-7A34-E78527B95E98}"/>
          </ac:spMkLst>
        </pc:spChg>
        <pc:spChg chg="del">
          <ac:chgData name="Dora Caria" userId="754dbe49-0523-4672-aa20-98bbd91c49b6" providerId="ADAL" clId="{848C00D0-67FE-4F6A-904D-CB347F67B6FC}" dt="2023-07-11T15:27:38.325" v="198" actId="478"/>
          <ac:spMkLst>
            <pc:docMk/>
            <pc:sldMk cId="2616846738" sldId="264"/>
            <ac:spMk id="12" creationId="{1F568773-B643-B018-AC08-3D5F2DE8790B}"/>
          </ac:spMkLst>
        </pc:spChg>
        <pc:spChg chg="mod">
          <ac:chgData name="Dora Caria" userId="754dbe49-0523-4672-aa20-98bbd91c49b6" providerId="ADAL" clId="{848C00D0-67FE-4F6A-904D-CB347F67B6FC}" dt="2023-07-11T15:40:51.793" v="626" actId="20577"/>
          <ac:spMkLst>
            <pc:docMk/>
            <pc:sldMk cId="2616846738" sldId="264"/>
            <ac:spMk id="14" creationId="{94000D1F-51E6-A9AF-2B40-4B95290F77B4}"/>
          </ac:spMkLst>
        </pc:spChg>
        <pc:spChg chg="mod">
          <ac:chgData name="Dora Caria" userId="754dbe49-0523-4672-aa20-98bbd91c49b6" providerId="ADAL" clId="{848C00D0-67FE-4F6A-904D-CB347F67B6FC}" dt="2023-07-11T15:20:50.786" v="1" actId="20577"/>
          <ac:spMkLst>
            <pc:docMk/>
            <pc:sldMk cId="2616846738" sldId="264"/>
            <ac:spMk id="16" creationId="{42F63BC9-861B-FFFA-7E62-2937BE248ABB}"/>
          </ac:spMkLst>
        </pc:spChg>
        <pc:spChg chg="del">
          <ac:chgData name="Dora Caria" userId="754dbe49-0523-4672-aa20-98bbd91c49b6" providerId="ADAL" clId="{848C00D0-67FE-4F6A-904D-CB347F67B6FC}" dt="2023-07-11T15:26:06.011" v="193" actId="478"/>
          <ac:spMkLst>
            <pc:docMk/>
            <pc:sldMk cId="2616846738" sldId="264"/>
            <ac:spMk id="17" creationId="{4ADD08B3-AC50-88C8-EE89-6277AA72B12F}"/>
          </ac:spMkLst>
        </pc:spChg>
        <pc:spChg chg="mod">
          <ac:chgData name="Dora Caria" userId="754dbe49-0523-4672-aa20-98bbd91c49b6" providerId="ADAL" clId="{848C00D0-67FE-4F6A-904D-CB347F67B6FC}" dt="2023-07-11T15:44:50.095" v="983" actId="20577"/>
          <ac:spMkLst>
            <pc:docMk/>
            <pc:sldMk cId="2616846738" sldId="264"/>
            <ac:spMk id="18" creationId="{CB8581B2-280A-D541-F076-E657A6922C3D}"/>
          </ac:spMkLst>
        </pc:spChg>
        <pc:spChg chg="mod">
          <ac:chgData name="Dora Caria" userId="754dbe49-0523-4672-aa20-98bbd91c49b6" providerId="ADAL" clId="{848C00D0-67FE-4F6A-904D-CB347F67B6FC}" dt="2023-07-11T15:44:38.838" v="981" actId="1076"/>
          <ac:spMkLst>
            <pc:docMk/>
            <pc:sldMk cId="2616846738" sldId="264"/>
            <ac:spMk id="19" creationId="{EFB63CA5-1B86-2DFF-1DEA-A65D20D384EB}"/>
          </ac:spMkLst>
        </pc:spChg>
        <pc:spChg chg="mod">
          <ac:chgData name="Dora Caria" userId="754dbe49-0523-4672-aa20-98bbd91c49b6" providerId="ADAL" clId="{848C00D0-67FE-4F6A-904D-CB347F67B6FC}" dt="2023-07-11T15:21:06.246" v="2" actId="14100"/>
          <ac:spMkLst>
            <pc:docMk/>
            <pc:sldMk cId="2616846738" sldId="264"/>
            <ac:spMk id="20" creationId="{D5DF9448-DB1F-92AE-BAB4-110310F5E888}"/>
          </ac:spMkLst>
        </pc:spChg>
      </pc:sldChg>
      <pc:sldChg chg="modSp mod">
        <pc:chgData name="Dora Caria" userId="754dbe49-0523-4672-aa20-98bbd91c49b6" providerId="ADAL" clId="{848C00D0-67FE-4F6A-904D-CB347F67B6FC}" dt="2023-07-11T15:27:19.249" v="197"/>
        <pc:sldMkLst>
          <pc:docMk/>
          <pc:sldMk cId="526391363" sldId="282"/>
        </pc:sldMkLst>
        <pc:spChg chg="mod">
          <ac:chgData name="Dora Caria" userId="754dbe49-0523-4672-aa20-98bbd91c49b6" providerId="ADAL" clId="{848C00D0-67FE-4F6A-904D-CB347F67B6FC}" dt="2023-07-11T15:27:19.249" v="197"/>
          <ac:spMkLst>
            <pc:docMk/>
            <pc:sldMk cId="526391363" sldId="282"/>
            <ac:spMk id="8" creationId="{0F62E15D-241D-F6FE-4E48-C306078B4E41}"/>
          </ac:spMkLst>
        </pc:spChg>
      </pc:sldChg>
      <pc:sldChg chg="delSp modSp mod">
        <pc:chgData name="Dora Caria" userId="754dbe49-0523-4672-aa20-98bbd91c49b6" providerId="ADAL" clId="{848C00D0-67FE-4F6A-904D-CB347F67B6FC}" dt="2023-07-11T15:30:48.115" v="428" actId="20577"/>
        <pc:sldMkLst>
          <pc:docMk/>
          <pc:sldMk cId="2821880972" sldId="1465"/>
        </pc:sldMkLst>
        <pc:spChg chg="del">
          <ac:chgData name="Dora Caria" userId="754dbe49-0523-4672-aa20-98bbd91c49b6" providerId="ADAL" clId="{848C00D0-67FE-4F6A-904D-CB347F67B6FC}" dt="2023-07-11T15:27:43.465" v="199" actId="478"/>
          <ac:spMkLst>
            <pc:docMk/>
            <pc:sldMk cId="2821880972" sldId="1465"/>
            <ac:spMk id="12" creationId="{7218DF96-5925-BC28-3FED-A4C0DF6AB070}"/>
          </ac:spMkLst>
        </pc:spChg>
        <pc:spChg chg="mod">
          <ac:chgData name="Dora Caria" userId="754dbe49-0523-4672-aa20-98bbd91c49b6" providerId="ADAL" clId="{848C00D0-67FE-4F6A-904D-CB347F67B6FC}" dt="2023-07-11T15:30:10.951" v="359" actId="13926"/>
          <ac:spMkLst>
            <pc:docMk/>
            <pc:sldMk cId="2821880972" sldId="1465"/>
            <ac:spMk id="19" creationId="{3EEB994E-71DD-1B03-5A65-6894361E0A03}"/>
          </ac:spMkLst>
        </pc:spChg>
        <pc:spChg chg="mod">
          <ac:chgData name="Dora Caria" userId="754dbe49-0523-4672-aa20-98bbd91c49b6" providerId="ADAL" clId="{848C00D0-67FE-4F6A-904D-CB347F67B6FC}" dt="2023-07-11T15:30:14.689" v="360" actId="6549"/>
          <ac:spMkLst>
            <pc:docMk/>
            <pc:sldMk cId="2821880972" sldId="1465"/>
            <ac:spMk id="20" creationId="{742E1002-33E5-86B2-70DB-A884EFF1D31B}"/>
          </ac:spMkLst>
        </pc:spChg>
        <pc:spChg chg="mod">
          <ac:chgData name="Dora Caria" userId="754dbe49-0523-4672-aa20-98bbd91c49b6" providerId="ADAL" clId="{848C00D0-67FE-4F6A-904D-CB347F67B6FC}" dt="2023-07-11T15:30:27.251" v="362" actId="6549"/>
          <ac:spMkLst>
            <pc:docMk/>
            <pc:sldMk cId="2821880972" sldId="1465"/>
            <ac:spMk id="21" creationId="{D0BA93C5-F51B-39D8-A88B-3ED197230300}"/>
          </ac:spMkLst>
        </pc:spChg>
        <pc:spChg chg="mod">
          <ac:chgData name="Dora Caria" userId="754dbe49-0523-4672-aa20-98bbd91c49b6" providerId="ADAL" clId="{848C00D0-67FE-4F6A-904D-CB347F67B6FC}" dt="2023-07-11T15:30:48.115" v="428" actId="20577"/>
          <ac:spMkLst>
            <pc:docMk/>
            <pc:sldMk cId="2821880972" sldId="1465"/>
            <ac:spMk id="22" creationId="{A0104C1C-57DE-B8B6-DB46-8F15BFF9E31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00FE6F-DC5C-473F-90FA-D83AA02DE21E}" type="datetimeFigureOut">
              <a:rPr lang="de-DE" smtClean="0"/>
              <a:t>03.08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B37BF5-908A-4AA1-BBD0-7172F99ED7C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11940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CC46CF-C219-45BD-AB0D-88AB6FD4C525}" type="datetimeFigureOut">
              <a:rPr lang="de-DE" smtClean="0"/>
              <a:t>03.08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FF1771-A4AA-4758-B29F-A3DB98C7BE8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82882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7800" indent="-177800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1950" indent="-184150" algn="l" defTabSz="914400" rtl="0" eaLnBrk="1" latinLnBrk="0" hangingPunct="1">
      <a:buClr>
        <a:schemeClr val="accent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50" indent="-177800" algn="l" defTabSz="914400" rtl="0" eaLnBrk="1" latinLnBrk="0" hangingPunct="1">
      <a:buClr>
        <a:schemeClr val="accent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50" indent="-177800" algn="l" defTabSz="914400" rtl="0" eaLnBrk="1" latinLnBrk="0" hangingPunct="1">
      <a:buClr>
        <a:schemeClr val="accent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3.png"/><Relationship Id="rId11" Type="http://schemas.openxmlformats.org/officeDocument/2006/relationships/image" Target="../media/image22.svg"/><Relationship Id="rId5" Type="http://schemas.openxmlformats.org/officeDocument/2006/relationships/image" Target="../media/image1.emf"/><Relationship Id="rId10" Type="http://schemas.openxmlformats.org/officeDocument/2006/relationships/image" Target="../media/image21.png"/><Relationship Id="rId4" Type="http://schemas.openxmlformats.org/officeDocument/2006/relationships/oleObject" Target="../embeddings/oleObject2.bin"/><Relationship Id="rId9" Type="http://schemas.microsoft.com/office/2007/relationships/hdphoto" Target="../media/hdphoto1.wdp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10" Type="http://schemas.openxmlformats.org/officeDocument/2006/relationships/image" Target="../media/image25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24.pn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12" Type="http://schemas.openxmlformats.org/officeDocument/2006/relationships/oleObject" Target="../embeddings/oleObject19.bin"/><Relationship Id="rId2" Type="http://schemas.openxmlformats.org/officeDocument/2006/relationships/tags" Target="../tags/tag47.xml"/><Relationship Id="rId16" Type="http://schemas.openxmlformats.org/officeDocument/2006/relationships/image" Target="../media/image25.svg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24.png"/><Relationship Id="rId10" Type="http://schemas.openxmlformats.org/officeDocument/2006/relationships/image" Target="../media/image11.png"/><Relationship Id="rId4" Type="http://schemas.openxmlformats.org/officeDocument/2006/relationships/image" Target="../media/image4.png"/><Relationship Id="rId9" Type="http://schemas.openxmlformats.org/officeDocument/2006/relationships/image" Target="../media/image10.png"/><Relationship Id="rId14" Type="http://schemas.openxmlformats.org/officeDocument/2006/relationships/image" Target="../media/image23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17" Type="http://schemas.openxmlformats.org/officeDocument/2006/relationships/image" Target="../media/image22.svg"/><Relationship Id="rId2" Type="http://schemas.openxmlformats.org/officeDocument/2006/relationships/tags" Target="../tags/tag49.xml"/><Relationship Id="rId16" Type="http://schemas.openxmlformats.org/officeDocument/2006/relationships/image" Target="../media/image21.png"/><Relationship Id="rId1" Type="http://schemas.openxmlformats.org/officeDocument/2006/relationships/tags" Target="../tags/tag48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.emf"/><Relationship Id="rId15" Type="http://schemas.microsoft.com/office/2007/relationships/hdphoto" Target="../media/hdphoto1.wdp"/><Relationship Id="rId10" Type="http://schemas.openxmlformats.org/officeDocument/2006/relationships/image" Target="../media/image17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16.png"/><Relationship Id="rId14" Type="http://schemas.openxmlformats.org/officeDocument/2006/relationships/image" Target="../media/image2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31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12" Type="http://schemas.openxmlformats.org/officeDocument/2006/relationships/image" Target="../media/image26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5.png"/><Relationship Id="rId11" Type="http://schemas.openxmlformats.org/officeDocument/2006/relationships/image" Target="../media/image2.png"/><Relationship Id="rId5" Type="http://schemas.openxmlformats.org/officeDocument/2006/relationships/image" Target="../media/image14.png"/><Relationship Id="rId10" Type="http://schemas.openxmlformats.org/officeDocument/2006/relationships/image" Target="../media/image1.emf"/><Relationship Id="rId4" Type="http://schemas.openxmlformats.org/officeDocument/2006/relationships/image" Target="../media/image13.png"/><Relationship Id="rId9" Type="http://schemas.openxmlformats.org/officeDocument/2006/relationships/oleObject" Target="../embeddings/oleObject2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Relationship Id="rId5" Type="http://schemas.openxmlformats.org/officeDocument/2006/relationships/image" Target="../media/image26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26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4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31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12" Type="http://schemas.openxmlformats.org/officeDocument/2006/relationships/image" Target="../media/image26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5.png"/><Relationship Id="rId11" Type="http://schemas.openxmlformats.org/officeDocument/2006/relationships/image" Target="../media/image2.png"/><Relationship Id="rId5" Type="http://schemas.openxmlformats.org/officeDocument/2006/relationships/image" Target="../media/image14.png"/><Relationship Id="rId15" Type="http://schemas.openxmlformats.org/officeDocument/2006/relationships/image" Target="../media/image35.svg"/><Relationship Id="rId10" Type="http://schemas.openxmlformats.org/officeDocument/2006/relationships/image" Target="../media/image1.emf"/><Relationship Id="rId4" Type="http://schemas.openxmlformats.org/officeDocument/2006/relationships/image" Target="../media/image13.png"/><Relationship Id="rId9" Type="http://schemas.openxmlformats.org/officeDocument/2006/relationships/oleObject" Target="../embeddings/oleObject22.bin"/><Relationship Id="rId14" Type="http://schemas.openxmlformats.org/officeDocument/2006/relationships/image" Target="../media/image3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12" Type="http://schemas.openxmlformats.org/officeDocument/2006/relationships/oleObject" Target="../embeddings/oleObject2.bin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4.png"/><Relationship Id="rId9" Type="http://schemas.openxmlformats.org/officeDocument/2006/relationships/image" Target="../media/image10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1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png"/><Relationship Id="rId12" Type="http://schemas.openxmlformats.org/officeDocument/2006/relationships/oleObject" Target="../embeddings/oleObject7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5.png"/><Relationship Id="rId11" Type="http://schemas.openxmlformats.org/officeDocument/2006/relationships/image" Target="../media/image2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Slide Pictur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BFED410-D64E-4908-9D50-35E70B04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69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BFED410-D64E-4908-9D50-35E70B04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51CC0C-A64F-4386-9665-973CF03433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9D8E293C-DE26-4C62-B182-34AB259AD4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7689" y="3986925"/>
            <a:ext cx="8470605" cy="867930"/>
          </a:xfrm>
        </p:spPr>
        <p:txBody>
          <a:bodyPr/>
          <a:lstStyle>
            <a:lvl1pPr>
              <a:defRPr>
                <a:solidFill>
                  <a:srgbClr val="404040"/>
                </a:solidFill>
              </a:defRPr>
            </a:lvl1pPr>
          </a:lstStyle>
          <a:p>
            <a:r>
              <a:rPr lang="en-GB" noProof="0" dirty="0"/>
              <a:t>Presentation title</a:t>
            </a:r>
            <a:br>
              <a:rPr lang="en-GB" noProof="0" dirty="0"/>
            </a:br>
            <a:r>
              <a:rPr lang="en-GB" noProof="0" dirty="0"/>
              <a:t>This is a second line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790B53C6-E7A3-4B69-AAFF-6E1FE94601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7689" y="5044651"/>
            <a:ext cx="8470605" cy="65844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kern="1200" baseline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 dirty="0"/>
              <a:t>dd/mm/</a:t>
            </a:r>
            <a:r>
              <a:rPr lang="en-GB" noProof="0" dirty="0" err="1"/>
              <a:t>yy</a:t>
            </a:r>
            <a:endParaRPr lang="en-GB" noProof="0" dirty="0"/>
          </a:p>
          <a:p>
            <a:r>
              <a:rPr lang="en-GB" noProof="0" dirty="0"/>
              <a:t>Name Speaker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C0A2B31-137C-44CA-B153-4F7B7AC264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15" t="21599" b="20758"/>
          <a:stretch/>
        </p:blipFill>
        <p:spPr>
          <a:xfrm>
            <a:off x="4252584" y="276904"/>
            <a:ext cx="7939416" cy="4221205"/>
          </a:xfrm>
          <a:prstGeom prst="rect">
            <a:avLst/>
          </a:prstGeom>
        </p:spPr>
      </p:pic>
      <p:pic>
        <p:nvPicPr>
          <p:cNvPr id="12" name="Bild" descr="Bild">
            <a:extLst>
              <a:ext uri="{FF2B5EF4-FFF2-40B4-BE49-F238E27FC236}">
                <a16:creationId xmlns:a16="http://schemas.microsoft.com/office/drawing/2014/main" id="{7509044C-B573-4199-9693-39DC410A98B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33057" y="5817942"/>
            <a:ext cx="2095165" cy="763154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DF377B1B-E0EF-4AF0-A961-CF93B28781DD}"/>
              </a:ext>
            </a:extLst>
          </p:cNvPr>
          <p:cNvGrpSpPr/>
          <p:nvPr userDrawn="1"/>
        </p:nvGrpSpPr>
        <p:grpSpPr>
          <a:xfrm rot="10800000">
            <a:off x="0" y="4726997"/>
            <a:ext cx="5558211" cy="144000"/>
            <a:chOff x="4396655" y="3637151"/>
            <a:chExt cx="5558211" cy="144000"/>
          </a:xfrm>
        </p:grpSpPr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D2F6B0F7-B7B1-4596-9484-531D0815E75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40655" y="3709151"/>
              <a:ext cx="5414211" cy="0"/>
            </a:xfrm>
            <a:prstGeom prst="line">
              <a:avLst/>
            </a:prstGeom>
            <a:solidFill>
              <a:schemeClr val="tx1"/>
            </a:solidFill>
            <a:ln w="3810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F45A5776-8C9E-49F5-B024-7630B19C8C54}"/>
                </a:ext>
              </a:extLst>
            </p:cNvPr>
            <p:cNvSpPr/>
            <p:nvPr userDrawn="1"/>
          </p:nvSpPr>
          <p:spPr>
            <a:xfrm>
              <a:off x="4396655" y="3637151"/>
              <a:ext cx="144000" cy="14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93475703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Gre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10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1BDAC33B-3F9A-4EC2-BD34-D96FF5C865EE}"/>
              </a:ext>
            </a:extLst>
          </p:cNvPr>
          <p:cNvSpPr/>
          <p:nvPr userDrawn="1"/>
        </p:nvSpPr>
        <p:spPr>
          <a:xfrm>
            <a:off x="0" y="0"/>
            <a:ext cx="12192000" cy="6127200"/>
          </a:xfrm>
          <a:prstGeom prst="rect">
            <a:avLst/>
          </a:prstGeom>
          <a:solidFill>
            <a:srgbClr val="DADAD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err="1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50861" y="1341438"/>
            <a:ext cx="11090275" cy="553998"/>
          </a:xfrm>
        </p:spPr>
        <p:txBody>
          <a:bodyPr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de-DE"/>
              <a:t>Conten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4967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AECE3913-01F6-4EA4-96B8-F2B5E42D2D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|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40CA5C9-E214-48DC-9BA9-750377108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967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2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B6D2205A-BCD4-4283-B300-E2EA360217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|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126551-CE7F-48F4-B8E2-93AB04D82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967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3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FCBD804A-8BF4-466A-B044-C4CC8D3170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395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|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9138FA3B-B919-41E0-B814-E8DA49840A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0276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4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233AAE30-57AC-4F14-A285-21CD7ECEB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0395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5|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A880A1FD-C01B-4B33-BC03-32B8BC28A7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0276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5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17EC8040-43B7-46D6-90E7-8E73A5CFEF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5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6|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FC9CAC4A-3009-41A3-973B-ED82D1ED05B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0276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6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1E295484-97BE-454E-84FD-0FCF948F1C6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0F9783A8-5DD6-4BD9-8451-CE67EFA52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BB0AFB8A-BB6C-46A0-900B-25A4F63AD2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489574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Gre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499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FE12CA0-62B3-4186-A81F-B5ECD17E0B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0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BDAC33B-3F9A-4EC2-BD34-D96FF5C865EE}"/>
              </a:ext>
            </a:extLst>
          </p:cNvPr>
          <p:cNvSpPr/>
          <p:nvPr userDrawn="1"/>
        </p:nvSpPr>
        <p:spPr>
          <a:xfrm>
            <a:off x="0" y="0"/>
            <a:ext cx="12192000" cy="6127200"/>
          </a:xfrm>
          <a:prstGeom prst="rect">
            <a:avLst/>
          </a:prstGeom>
          <a:solidFill>
            <a:srgbClr val="DADAD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err="1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034143"/>
            <a:ext cx="1290638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6918" y="2034143"/>
            <a:ext cx="7665722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057A1160-F03B-4585-A9BE-DE4693201CF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8910B592-E1BA-485B-8EF5-D86D9FC91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65B8136-4BAB-4B10-A19A-D6C9A584A0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17433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896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A419400-9A09-48A1-A7F9-B54AB031E2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click here to insert headli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341438"/>
            <a:ext cx="11090276" cy="4464050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/>
            </a:lvl1pPr>
            <a:lvl2pPr>
              <a:lnSpc>
                <a:spcPts val="1900"/>
              </a:lnSpc>
              <a:buClrTx/>
              <a:defRPr/>
            </a:lvl2pPr>
            <a:lvl3pPr>
              <a:lnSpc>
                <a:spcPts val="1900"/>
              </a:lnSpc>
              <a:spcBef>
                <a:spcPts val="600"/>
              </a:spcBef>
              <a:buClrTx/>
              <a:defRPr/>
            </a:lvl3pPr>
            <a:lvl4pPr>
              <a:lnSpc>
                <a:spcPts val="1900"/>
              </a:lnSpc>
              <a:spcBef>
                <a:spcPts val="600"/>
              </a:spcBef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59093958-DD28-4A40-A9F6-D9BB2A14A8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B8B2DA53-1862-4E60-8762-F5838333D5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22E121-F271-44D0-9AD9-048D83781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69608711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Gre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671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179A2FA-7C42-4755-8032-5FF5AA8BBF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63CFA90-56F2-4F27-8A79-C8DC69D5E793}"/>
              </a:ext>
            </a:extLst>
          </p:cNvPr>
          <p:cNvSpPr/>
          <p:nvPr userDrawn="1"/>
        </p:nvSpPr>
        <p:spPr>
          <a:xfrm>
            <a:off x="0" y="1"/>
            <a:ext cx="12192000" cy="6127200"/>
          </a:xfrm>
          <a:prstGeom prst="rect">
            <a:avLst/>
          </a:prstGeom>
          <a:solidFill>
            <a:srgbClr val="DADAD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err="1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click here to insert headli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341438"/>
            <a:ext cx="11090276" cy="42481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93735C59-5A82-41A5-B546-1776984064D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1601141C-8B1E-45D4-BC9C-0BA48DD2FD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441F8D6-1E69-4166-A72C-B5DC0AB70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339246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Textbox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025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1A89C9FB-5403-4F06-A66E-AB96686BCA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click here to insert headli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163726-6E90-4016-B867-B199B92A89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41438"/>
            <a:ext cx="5437187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F36B43D-F444-473A-921E-C5C7386D67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0" y="1341438"/>
            <a:ext cx="5437188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0246D335-FD5A-4402-AAC6-4EFDE5EDE1B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de-DE"/>
              <a:t>Apr 2022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34AEE60-9E6D-4254-9F96-96CB3753EB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D2FD12E2-3271-48D2-B1EE-13A4F43F7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4336440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969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1C95379-C338-4098-ACF2-A4A90DC9C2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click here to insert headli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4C1680E-35DF-4BE4-BAC4-77D1EF79243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62" y="1341438"/>
            <a:ext cx="11090276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7EC0622A-5544-4081-A9A4-9A4DAD1E33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7E7A531F-BDEF-46BE-843E-493CC96F9F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1823F387-FEC2-4817-8A78-37B652A2FF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046715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6679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DA99AB9-1574-4FF3-9A2A-F51D9550AF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click here to insert headli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4C1680E-35DF-4BE4-BAC4-77D1EF79243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62" y="1341438"/>
            <a:ext cx="5437188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9C1EE6-D75B-4A74-9D6C-120BF118C0B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03950" y="1341438"/>
            <a:ext cx="5437188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D2D34660-546E-4E98-9343-AE6FFEDDC3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de-DE"/>
              <a:t>Apr 2022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F6E4CEC-978E-4DED-B96A-70D0DAD370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BB2C5CCF-F2F5-43A4-8465-1E8494B972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079473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720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C9C9ADA-6DF2-4A4F-A2F3-A96D5886F0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50863" y="455205"/>
            <a:ext cx="11090275" cy="360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click here to insert headli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163726-6E90-4016-B867-B199B92A89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5" y="1341438"/>
            <a:ext cx="5437187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65534DA-2ABA-40B5-BDEC-55F445D16F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03952" y="1341438"/>
            <a:ext cx="5437188" cy="4464050"/>
          </a:xfrm>
          <a:prstGeom prst="rect">
            <a:avLst/>
          </a:prstGeom>
          <a:solidFill>
            <a:srgbClr val="DADADA"/>
          </a:solidFill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Please insert picture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7C2A03B1-6972-464D-BD3E-1B14163DDBA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4ECB8FF1-A8EB-4F0A-9989-510CD18D8A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5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BCC8880-9C0D-4F46-A702-CCFAC4C99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613730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59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E73808E-6DB5-4ECE-BADF-3AE90E9406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click here to insert headli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65534DA-2ABA-40B5-BDEC-55F445D16F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0863" y="1341438"/>
            <a:ext cx="11090275" cy="4464050"/>
          </a:xfrm>
          <a:prstGeom prst="rect">
            <a:avLst/>
          </a:prstGeom>
          <a:solidFill>
            <a:srgbClr val="DADADA"/>
          </a:solidFill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Please insert picture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544711C1-89DD-4960-99A9-DA866F0B7A2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290B67B8-7FDA-47D5-B69A-A81B94F963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7883F25B-60B8-4170-B8D7-D63FAC283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9419280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1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A99035-D520-4036-82EC-0E5EA9913C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581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A99035-D520-4036-82EC-0E5EA9913C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ontact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0863" y="1341438"/>
            <a:ext cx="5437188" cy="4464050"/>
          </a:xfrm>
          <a:prstGeom prst="rect">
            <a:avLst/>
          </a:prstGeom>
          <a:solidFill>
            <a:srgbClr val="DADADA"/>
          </a:solidFill>
        </p:spPr>
        <p:txBody>
          <a:bodyPr vert="horz" lIns="0" tIns="360000" rIns="91440" bIns="45720" rtlCol="0">
            <a:normAutofit/>
          </a:bodyPr>
          <a:lstStyle>
            <a:lvl1pPr marL="0" indent="0" algn="ctr">
              <a:buNone/>
              <a:defRPr lang="de-DE" sz="1600" dirty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insert pictur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EF7555B-FD10-4601-B675-53ED79E829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03950" y="1341438"/>
            <a:ext cx="5437188" cy="614362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E115B43-77B0-4490-8CFC-F8206BB1C6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50" y="2665763"/>
            <a:ext cx="5437188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B406702C-3F47-4C8E-986D-A3AA8CE808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3950" y="2969317"/>
            <a:ext cx="5437188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FD92055-068D-4797-9B28-3BA46E9FF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03950" y="3429000"/>
            <a:ext cx="5437188" cy="2376488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23F04D5-266B-4925-8376-0C293C54D0F2}"/>
              </a:ext>
            </a:extLst>
          </p:cNvPr>
          <p:cNvCxnSpPr/>
          <p:nvPr userDrawn="1"/>
        </p:nvCxnSpPr>
        <p:spPr>
          <a:xfrm>
            <a:off x="6203950" y="2940651"/>
            <a:ext cx="54371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952329BE-603C-4094-B243-FAB14123C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DFBC3C74-4E29-4FD4-9FF6-37182AB690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C2940E6-F005-4664-97E6-4CB53720B8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308347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 Gre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10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50861" y="1341438"/>
            <a:ext cx="11090275" cy="553998"/>
          </a:xfrm>
        </p:spPr>
        <p:txBody>
          <a:bodyPr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de-DE"/>
              <a:t>Conten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4967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AECE3913-01F6-4EA4-96B8-F2B5E42D2D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|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40CA5C9-E214-48DC-9BA9-750377108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967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2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B6D2205A-BCD4-4283-B300-E2EA360217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|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126551-CE7F-48F4-B8E2-93AB04D82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967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3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FCBD804A-8BF4-466A-B044-C4CC8D3170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395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|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9138FA3B-B919-41E0-B814-E8DA49840A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0276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4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233AAE30-57AC-4F14-A285-21CD7ECEB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0395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5|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A880A1FD-C01B-4B33-BC03-32B8BC28A7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0276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5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17EC8040-43B7-46D6-90E7-8E73A5CFEF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5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6|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FC9CAC4A-3009-41A3-973B-ED82D1ED05B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0276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6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1E295484-97BE-454E-84FD-0FCF948F1C6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0F9783A8-5DD6-4BD9-8451-CE67EFA52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BB0AFB8A-BB6C-46A0-900B-25A4F63AD2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15036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2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A99035-D520-4036-82EC-0E5EA9913C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217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A99035-D520-4036-82EC-0E5EA9913C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Contact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0862" y="2777821"/>
            <a:ext cx="2587541" cy="3027667"/>
          </a:xfrm>
          <a:prstGeom prst="rect">
            <a:avLst/>
          </a:prstGeom>
          <a:solidFill>
            <a:srgbClr val="DADADA"/>
          </a:solidFill>
        </p:spPr>
        <p:txBody>
          <a:bodyPr vert="horz" lIns="0" tIns="360000" rIns="91440" bIns="45720" rtlCol="0">
            <a:normAutofit/>
          </a:bodyPr>
          <a:lstStyle>
            <a:lvl1pPr marL="0" indent="0" algn="ctr">
              <a:buNone/>
              <a:defRPr lang="de-DE" sz="1600" dirty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insert pictur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EF7555B-FD10-4601-B675-53ED79E829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0862" y="1341438"/>
            <a:ext cx="6954837" cy="614362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E115B43-77B0-4490-8CFC-F8206BB1C6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69457" y="3085598"/>
            <a:ext cx="4236243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B406702C-3F47-4C8E-986D-A3AA8CE808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69457" y="3389152"/>
            <a:ext cx="4236243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FD92055-068D-4797-9B28-3BA46E9FF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69457" y="3848835"/>
            <a:ext cx="4236243" cy="1956653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23F04D5-266B-4925-8376-0C293C54D0F2}"/>
              </a:ext>
            </a:extLst>
          </p:cNvPr>
          <p:cNvCxnSpPr>
            <a:cxnSpLocks/>
          </p:cNvCxnSpPr>
          <p:nvPr userDrawn="1"/>
        </p:nvCxnSpPr>
        <p:spPr>
          <a:xfrm>
            <a:off x="3269457" y="3360486"/>
            <a:ext cx="423624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6318AA8D-C3E4-48F8-BABD-63D8B010877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6836C01C-0DFA-409A-86CF-88BEC02C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832462D2-0533-45D6-93B4-4C1BEAC52E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533094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A99035-D520-4036-82EC-0E5EA9913C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222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A99035-D520-4036-82EC-0E5EA9913C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Contact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0862" y="2777821"/>
            <a:ext cx="2587541" cy="3027667"/>
          </a:xfrm>
          <a:prstGeom prst="rect">
            <a:avLst/>
          </a:prstGeom>
          <a:solidFill>
            <a:srgbClr val="DADADA"/>
          </a:solidFill>
        </p:spPr>
        <p:txBody>
          <a:bodyPr vert="horz" lIns="0" tIns="360000" rIns="91440" bIns="45720" rtlCol="0">
            <a:normAutofit/>
          </a:bodyPr>
          <a:lstStyle>
            <a:lvl1pPr marL="0" indent="0" algn="ctr">
              <a:buNone/>
              <a:defRPr lang="de-DE" sz="1600" dirty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insert pictur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EF7555B-FD10-4601-B675-53ED79E8299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50862" y="1341438"/>
            <a:ext cx="6954837" cy="614362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endParaRPr lang="de-DE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E115B43-77B0-4490-8CFC-F8206BB1C6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69457" y="3085598"/>
            <a:ext cx="2718593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B406702C-3F47-4C8E-986D-A3AA8CE808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69457" y="3389152"/>
            <a:ext cx="2718593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FD92055-068D-4797-9B28-3BA46E9FF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69457" y="3848835"/>
            <a:ext cx="2718593" cy="1956653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23F04D5-266B-4925-8376-0C293C54D0F2}"/>
              </a:ext>
            </a:extLst>
          </p:cNvPr>
          <p:cNvCxnSpPr>
            <a:cxnSpLocks/>
          </p:cNvCxnSpPr>
          <p:nvPr userDrawn="1"/>
        </p:nvCxnSpPr>
        <p:spPr>
          <a:xfrm>
            <a:off x="3269457" y="3360486"/>
            <a:ext cx="27185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3569D1FB-EEF8-4AE5-ADB3-E02EBF27177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220924" y="2777821"/>
            <a:ext cx="2587541" cy="3027667"/>
          </a:xfrm>
          <a:prstGeom prst="rect">
            <a:avLst/>
          </a:prstGeom>
          <a:solidFill>
            <a:srgbClr val="DADADA"/>
          </a:solidFill>
        </p:spPr>
        <p:txBody>
          <a:bodyPr vert="horz" lIns="0" tIns="360000" rIns="91440" bIns="45720" rtlCol="0">
            <a:normAutofit/>
          </a:bodyPr>
          <a:lstStyle>
            <a:lvl1pPr marL="0" indent="0" algn="ctr">
              <a:buNone/>
              <a:defRPr lang="de-DE" sz="1600" dirty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Please insert picture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0D02CDDC-DFF9-497B-A101-E79E00B49F3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39519" y="3085598"/>
            <a:ext cx="2718593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6993B0AD-E56C-4BE5-803E-2562A508A50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39519" y="3389152"/>
            <a:ext cx="2718593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A711B2D2-8285-4016-8EE7-64F846C1A2E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39519" y="3848835"/>
            <a:ext cx="2718593" cy="1956653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</a:lstStyle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0E422F3E-EE9C-488A-A4BA-448860022447}"/>
              </a:ext>
            </a:extLst>
          </p:cNvPr>
          <p:cNvCxnSpPr>
            <a:cxnSpLocks/>
          </p:cNvCxnSpPr>
          <p:nvPr userDrawn="1"/>
        </p:nvCxnSpPr>
        <p:spPr>
          <a:xfrm>
            <a:off x="8939519" y="3360486"/>
            <a:ext cx="27185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58CD182-F28E-48D3-82C0-ECBCC8C7593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2130A33B-3F26-4F18-BE0F-5E30BB27CA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C17C40C0-733C-4C04-A4DF-AA9F0D151B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9633863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4E80D70-1816-4A3D-A8BB-AFC0751747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57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4E80D70-1816-4A3D-A8BB-AFC075174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634F796-1589-4A4C-A6D9-D204002D33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550863" y="455205"/>
            <a:ext cx="11090275" cy="3600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 err="1"/>
              <a:t>Please</a:t>
            </a:r>
            <a:r>
              <a:rPr lang="de-DE" noProof="0" dirty="0"/>
              <a:t> </a:t>
            </a:r>
            <a:r>
              <a:rPr lang="de-DE" noProof="0" dirty="0" err="1"/>
              <a:t>click</a:t>
            </a:r>
            <a:r>
              <a:rPr lang="de-DE" noProof="0" dirty="0"/>
              <a:t> </a:t>
            </a:r>
            <a:r>
              <a:rPr lang="de-DE" noProof="0" dirty="0" err="1"/>
              <a:t>here</a:t>
            </a:r>
            <a:r>
              <a:rPr lang="de-DE" noProof="0" dirty="0"/>
              <a:t> </a:t>
            </a:r>
            <a:r>
              <a:rPr lang="de-DE" noProof="0" dirty="0" err="1"/>
              <a:t>to</a:t>
            </a:r>
            <a:r>
              <a:rPr lang="de-DE" noProof="0" dirty="0"/>
              <a:t> </a:t>
            </a:r>
            <a:r>
              <a:rPr lang="de-DE" noProof="0" dirty="0" err="1"/>
              <a:t>insert</a:t>
            </a:r>
            <a:r>
              <a:rPr lang="de-DE" noProof="0" dirty="0"/>
              <a:t> </a:t>
            </a:r>
            <a:r>
              <a:rPr lang="de-DE" noProof="0" dirty="0" err="1"/>
              <a:t>headline</a:t>
            </a:r>
            <a:endParaRPr lang="de-DE" dirty="0"/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213C6FB3-5E05-49B6-A7D8-C2F8AF470B9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de-DE"/>
              <a:t>Apr 2022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FBD1AF5-57BF-4885-B733-F4D0600926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5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Corporate </a:t>
            </a:r>
            <a:r>
              <a:rPr lang="de-DE" err="1"/>
              <a:t>Presentation</a:t>
            </a:r>
            <a:endParaRPr lang="en-US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03D2CC6-410C-48D5-AD41-D452BFA10A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8974779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Slide Pictur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BFED410-D64E-4908-9D50-35E70B04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69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BFED410-D64E-4908-9D50-35E70B04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51CC0C-A64F-4386-9665-973CF03433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C0A2B31-137C-44CA-B153-4F7B7AC264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015" t="21599" b="20758"/>
          <a:stretch/>
        </p:blipFill>
        <p:spPr>
          <a:xfrm>
            <a:off x="4252584" y="276904"/>
            <a:ext cx="7939416" cy="4221205"/>
          </a:xfrm>
          <a:prstGeom prst="rect">
            <a:avLst/>
          </a:prstGeom>
        </p:spPr>
      </p:pic>
      <p:pic>
        <p:nvPicPr>
          <p:cNvPr id="12" name="Bild" descr="Bild">
            <a:extLst>
              <a:ext uri="{FF2B5EF4-FFF2-40B4-BE49-F238E27FC236}">
                <a16:creationId xmlns:a16="http://schemas.microsoft.com/office/drawing/2014/main" id="{7509044C-B573-4199-9693-39DC410A98B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33057" y="5817942"/>
            <a:ext cx="2095165" cy="763154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5B7D425F-4CEF-4E28-92D2-1720FB4936EE}"/>
              </a:ext>
            </a:extLst>
          </p:cNvPr>
          <p:cNvSpPr txBox="1"/>
          <p:nvPr userDrawn="1"/>
        </p:nvSpPr>
        <p:spPr>
          <a:xfrm>
            <a:off x="1966884" y="5054856"/>
            <a:ext cx="56864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 dirty="0"/>
              <a:t>Follow us on</a:t>
            </a:r>
          </a:p>
          <a:p>
            <a:pPr algn="l"/>
            <a:r>
              <a:rPr lang="en-GB" sz="2800" b="1" noProof="0" dirty="0"/>
              <a:t>LinkedIn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601F1481-87AE-4686-8815-F55F5A94816C}"/>
              </a:ext>
            </a:extLst>
          </p:cNvPr>
          <p:cNvSpPr txBox="1"/>
          <p:nvPr userDrawn="1"/>
        </p:nvSpPr>
        <p:spPr>
          <a:xfrm>
            <a:off x="1964139" y="3742669"/>
            <a:ext cx="56864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 dirty="0"/>
              <a:t>Visit us at</a:t>
            </a:r>
          </a:p>
          <a:p>
            <a:pPr algn="l"/>
            <a:r>
              <a:rPr lang="en-GB" sz="2800" b="1" noProof="0" dirty="0"/>
              <a:t>Landbell-group.com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46E6795-D00A-4884-8993-E0A9344F526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biLevel thresh="75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803" y="5054856"/>
            <a:ext cx="891171" cy="891171"/>
          </a:xfrm>
          <a:prstGeom prst="rect">
            <a:avLst/>
          </a:prstGeom>
        </p:spPr>
      </p:pic>
      <p:pic>
        <p:nvPicPr>
          <p:cNvPr id="19" name="Grafik 18" descr="Internet mit einfarbiger Füllung">
            <a:extLst>
              <a:ext uri="{FF2B5EF4-FFF2-40B4-BE49-F238E27FC236}">
                <a16:creationId xmlns:a16="http://schemas.microsoft.com/office/drawing/2014/main" id="{EEAD6F0A-11A1-47A7-8615-86391B7524E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0863" y="3576027"/>
            <a:ext cx="1176670" cy="1176670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CDA2714-5FFD-49D3-AF0A-0B2FD50935BD}"/>
              </a:ext>
            </a:extLst>
          </p:cNvPr>
          <p:cNvGrpSpPr/>
          <p:nvPr userDrawn="1"/>
        </p:nvGrpSpPr>
        <p:grpSpPr>
          <a:xfrm rot="10800000">
            <a:off x="0" y="4726997"/>
            <a:ext cx="5558211" cy="144000"/>
            <a:chOff x="4396655" y="3637151"/>
            <a:chExt cx="5558211" cy="144000"/>
          </a:xfrm>
        </p:grpSpPr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73B9828B-3C4A-4CDB-BADB-9A9780E6E69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4540655" y="3709151"/>
              <a:ext cx="5414211" cy="0"/>
            </a:xfrm>
            <a:prstGeom prst="line">
              <a:avLst/>
            </a:prstGeom>
            <a:solidFill>
              <a:schemeClr val="tx1"/>
            </a:solidFill>
            <a:ln w="38100">
              <a:solidFill>
                <a:srgbClr val="40404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6E10E677-18AD-431B-9B4E-FCA597BB52FD}"/>
                </a:ext>
              </a:extLst>
            </p:cNvPr>
            <p:cNvSpPr/>
            <p:nvPr userDrawn="1"/>
          </p:nvSpPr>
          <p:spPr>
            <a:xfrm>
              <a:off x="4396655" y="3637151"/>
              <a:ext cx="144000" cy="14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40404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12730462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Title Slide Pictur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feld 18">
            <a:extLst>
              <a:ext uri="{FF2B5EF4-FFF2-40B4-BE49-F238E27FC236}">
                <a16:creationId xmlns:a16="http://schemas.microsoft.com/office/drawing/2014/main" id="{B4FF837F-DB01-4587-BBA7-54488EAD9C73}"/>
              </a:ext>
            </a:extLst>
          </p:cNvPr>
          <p:cNvSpPr txBox="1"/>
          <p:nvPr userDrawn="1"/>
        </p:nvSpPr>
        <p:spPr>
          <a:xfrm>
            <a:off x="-8027" y="0"/>
            <a:ext cx="12192000" cy="6858000"/>
          </a:xfrm>
          <a:prstGeom prst="rect">
            <a:avLst/>
          </a:prstGeom>
          <a:solidFill>
            <a:srgbClr val="40404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Bef>
                <a:spcPts val="1200"/>
              </a:spcBef>
            </a:pPr>
            <a:endParaRPr lang="de-DE" sz="1600" noProof="0" dirty="0" err="1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BFED410-D64E-4908-9D50-35E70B04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69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BFED410-D64E-4908-9D50-35E70B04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51CC0C-A64F-4386-9665-973CF03433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B4F1391-40A9-4C55-82FE-E309E841C1F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0863" y="574923"/>
            <a:ext cx="2215879" cy="734332"/>
          </a:xfrm>
          <a:prstGeom prst="rect">
            <a:avLst/>
          </a:prstGeom>
        </p:spPr>
      </p:pic>
      <p:pic>
        <p:nvPicPr>
          <p:cNvPr id="10" name="Grafik 9" descr="Ein Bild, das Text, Gerät, Systemsteuerung enthält.&#10;&#10;Automatisch generierte Beschreibung">
            <a:extLst>
              <a:ext uri="{FF2B5EF4-FFF2-40B4-BE49-F238E27FC236}">
                <a16:creationId xmlns:a16="http://schemas.microsoft.com/office/drawing/2014/main" id="{DAE9D22F-BBD6-42E6-A41C-6E6FEA3645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86"/>
          <a:stretch/>
        </p:blipFill>
        <p:spPr>
          <a:xfrm>
            <a:off x="6203950" y="0"/>
            <a:ext cx="5988050" cy="685800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C447041-BFDC-45A8-B21F-465870DC9AC6}"/>
              </a:ext>
            </a:extLst>
          </p:cNvPr>
          <p:cNvSpPr txBox="1"/>
          <p:nvPr userDrawn="1"/>
        </p:nvSpPr>
        <p:spPr>
          <a:xfrm>
            <a:off x="1930274" y="3107781"/>
            <a:ext cx="56864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>
                <a:solidFill>
                  <a:schemeClr val="bg1"/>
                </a:solidFill>
              </a:rPr>
              <a:t>Visit us at</a:t>
            </a:r>
          </a:p>
          <a:p>
            <a:pPr algn="l"/>
            <a:r>
              <a:rPr lang="en-GB" sz="2800" b="1" noProof="0">
                <a:solidFill>
                  <a:schemeClr val="bg1"/>
                </a:solidFill>
              </a:rPr>
              <a:t>Landbell-group.com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BC5AE06B-C092-4FED-AB4B-D82C53FA0B62}"/>
              </a:ext>
            </a:extLst>
          </p:cNvPr>
          <p:cNvSpPr txBox="1"/>
          <p:nvPr userDrawn="1"/>
        </p:nvSpPr>
        <p:spPr>
          <a:xfrm>
            <a:off x="1930274" y="4614824"/>
            <a:ext cx="56864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 dirty="0">
                <a:solidFill>
                  <a:schemeClr val="bg1"/>
                </a:solidFill>
              </a:rPr>
              <a:t>Follow us on</a:t>
            </a:r>
          </a:p>
          <a:p>
            <a:pPr algn="l"/>
            <a:r>
              <a:rPr lang="en-GB" sz="2800" b="1" noProof="0" dirty="0">
                <a:solidFill>
                  <a:schemeClr val="bg1"/>
                </a:solidFill>
              </a:rPr>
              <a:t>LinkedI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B591A8D-B9FF-4C4D-AE86-F51D990A208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803" y="4606570"/>
            <a:ext cx="891171" cy="891171"/>
          </a:xfrm>
          <a:prstGeom prst="rect">
            <a:avLst/>
          </a:prstGeom>
        </p:spPr>
      </p:pic>
      <p:pic>
        <p:nvPicPr>
          <p:cNvPr id="13" name="Grafik 12" descr="Internet mit einfarbiger Füllung">
            <a:extLst>
              <a:ext uri="{FF2B5EF4-FFF2-40B4-BE49-F238E27FC236}">
                <a16:creationId xmlns:a16="http://schemas.microsoft.com/office/drawing/2014/main" id="{BFA82467-AAA4-484C-9BC5-D977F6E1EBE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0863" y="2952513"/>
            <a:ext cx="1176670" cy="117667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E279D9AC-C35B-47E7-9B77-9EA50A93F577}"/>
              </a:ext>
            </a:extLst>
          </p:cNvPr>
          <p:cNvSpPr txBox="1"/>
          <p:nvPr userDrawn="1"/>
        </p:nvSpPr>
        <p:spPr>
          <a:xfrm>
            <a:off x="1905221" y="4072854"/>
            <a:ext cx="8293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 dirty="0">
                <a:solidFill>
                  <a:schemeClr val="bg1"/>
                </a:solidFill>
              </a:rPr>
              <a:t>&amp;</a:t>
            </a:r>
          </a:p>
        </p:txBody>
      </p:sp>
    </p:spTree>
    <p:extLst>
      <p:ext uri="{BB962C8B-B14F-4D97-AF65-F5344CB8AC3E}">
        <p14:creationId xmlns:p14="http://schemas.microsoft.com/office/powerpoint/2010/main" val="3805227251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inal slide map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6D9A4DB5-AA21-4C49-8492-BC151400E4B8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BCD13ED-1314-4793-AC11-67DFC2D5F98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56598" y="1467028"/>
            <a:ext cx="2737485" cy="90719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77237592-19E0-42E5-A024-54483D526F1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631" y="2374218"/>
            <a:ext cx="466627" cy="490531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36237CBC-D813-4528-9949-656A8779A47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607" y="182587"/>
            <a:ext cx="491162" cy="517475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818391CA-84DF-4DCB-963B-E2009953A85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6462" y="790157"/>
            <a:ext cx="448252" cy="47121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C306E856-64E5-4CE7-9E2A-E3A8A7A35D1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2166" y="436322"/>
            <a:ext cx="585558" cy="615553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DB519A13-26B6-4F5B-BC8A-48D1B5A0E03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285" y="403062"/>
            <a:ext cx="324417" cy="341036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82109F22-2357-4205-8C71-4C1FBD12C0D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026" y="2789371"/>
            <a:ext cx="585558" cy="615553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0BEBD39E-AA2C-4191-BA9F-D413554E8AD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7833" y="3284230"/>
            <a:ext cx="409891" cy="430888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987B87F-C491-4F67-9A7C-827F0BCAC1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66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987B87F-C491-4F67-9A7C-827F0BCAC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D1B1598-E955-43C4-B104-7CC6CEEFD8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7954E4E-8D40-4997-88AB-2BFE4DA7B784}"/>
              </a:ext>
            </a:extLst>
          </p:cNvPr>
          <p:cNvSpPr txBox="1"/>
          <p:nvPr userDrawn="1"/>
        </p:nvSpPr>
        <p:spPr>
          <a:xfrm>
            <a:off x="2031541" y="2574175"/>
            <a:ext cx="56864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>
                <a:solidFill>
                  <a:schemeClr val="bg1"/>
                </a:solidFill>
              </a:rPr>
              <a:t>Visit us at</a:t>
            </a:r>
          </a:p>
          <a:p>
            <a:pPr algn="l"/>
            <a:r>
              <a:rPr lang="en-GB" sz="2800" b="1" noProof="0">
                <a:solidFill>
                  <a:schemeClr val="bg1"/>
                </a:solidFill>
              </a:rPr>
              <a:t>Landbell-group.com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A3F77756-B307-4850-8E71-814D77D786CA}"/>
              </a:ext>
            </a:extLst>
          </p:cNvPr>
          <p:cNvSpPr txBox="1"/>
          <p:nvPr userDrawn="1"/>
        </p:nvSpPr>
        <p:spPr>
          <a:xfrm>
            <a:off x="2031541" y="4081218"/>
            <a:ext cx="56864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 dirty="0">
                <a:solidFill>
                  <a:schemeClr val="bg1"/>
                </a:solidFill>
              </a:rPr>
              <a:t>Follow us on</a:t>
            </a:r>
          </a:p>
          <a:p>
            <a:pPr algn="l"/>
            <a:r>
              <a:rPr lang="en-GB" sz="2800" b="1" noProof="0" dirty="0">
                <a:solidFill>
                  <a:schemeClr val="bg1"/>
                </a:solidFill>
              </a:rPr>
              <a:t>LinkedIn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8C3B2B4A-7B61-4645-A979-67BFEE471CFF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70" y="4072964"/>
            <a:ext cx="891171" cy="891171"/>
          </a:xfrm>
          <a:prstGeom prst="rect">
            <a:avLst/>
          </a:prstGeom>
        </p:spPr>
      </p:pic>
      <p:pic>
        <p:nvPicPr>
          <p:cNvPr id="27" name="Grafik 26" descr="Internet mit einfarbiger Füllung">
            <a:extLst>
              <a:ext uri="{FF2B5EF4-FFF2-40B4-BE49-F238E27FC236}">
                <a16:creationId xmlns:a16="http://schemas.microsoft.com/office/drawing/2014/main" id="{6901A7D0-3510-44EE-8708-3917DD4BB579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52130" y="2418907"/>
            <a:ext cx="1176670" cy="1176670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4064CDF2-61E1-4934-93E0-DDAE3685EF01}"/>
              </a:ext>
            </a:extLst>
          </p:cNvPr>
          <p:cNvSpPr txBox="1"/>
          <p:nvPr userDrawn="1"/>
        </p:nvSpPr>
        <p:spPr>
          <a:xfrm>
            <a:off x="2006488" y="3539248"/>
            <a:ext cx="8293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 dirty="0">
                <a:solidFill>
                  <a:schemeClr val="bg1"/>
                </a:solidFill>
              </a:rPr>
              <a:t>&amp;</a:t>
            </a:r>
          </a:p>
        </p:txBody>
      </p:sp>
    </p:spTree>
    <p:extLst>
      <p:ext uri="{BB962C8B-B14F-4D97-AF65-F5344CB8AC3E}">
        <p14:creationId xmlns:p14="http://schemas.microsoft.com/office/powerpoint/2010/main" val="62028474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inal slide map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987B87F-C491-4F67-9A7C-827F0BCAC1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66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987B87F-C491-4F67-9A7C-827F0BCAC1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D1B1598-E955-43C4-B104-7CC6CEEFD83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FA57982-BC93-43A7-BE97-22D1703F4B4F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921D6951-0B00-4C98-8949-3334A25793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77953" y="185283"/>
            <a:ext cx="504705" cy="518400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FAB07B30-BCC1-4ED7-8DFB-A73C0FA3BDC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657095" y="406234"/>
            <a:ext cx="332965" cy="3420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80355606-4025-4960-A829-67BC6332D3A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935474" y="439139"/>
            <a:ext cx="599337" cy="61560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81791208-60CF-4540-B838-3BA67868C0C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428637" y="791081"/>
            <a:ext cx="459141" cy="4716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E1D2764C-C4FB-4772-8543-486023E0EEE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337732" y="2790540"/>
            <a:ext cx="599337" cy="6156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91D3A605-446A-47F4-9630-7A3EF7F11D4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996611" y="2375149"/>
            <a:ext cx="476666" cy="4896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06B924A8-F125-444B-974B-6D6F235511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1114757" y="3286036"/>
            <a:ext cx="420587" cy="432000"/>
          </a:xfrm>
          <a:prstGeom prst="rect">
            <a:avLst/>
          </a:prstGeom>
        </p:spPr>
      </p:pic>
      <p:pic>
        <p:nvPicPr>
          <p:cNvPr id="41" name="Bild" descr="Bild">
            <a:extLst>
              <a:ext uri="{FF2B5EF4-FFF2-40B4-BE49-F238E27FC236}">
                <a16:creationId xmlns:a16="http://schemas.microsoft.com/office/drawing/2014/main" id="{762A5733-22CE-4260-94B8-92281CC15F03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133770" y="1315919"/>
            <a:ext cx="2945049" cy="1072720"/>
          </a:xfrm>
          <a:prstGeom prst="rect">
            <a:avLst/>
          </a:prstGeom>
          <a:ln w="12700">
            <a:miter lim="400000"/>
          </a:ln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2D3A52C9-BE39-46B2-A017-F044FCCA61BD}"/>
              </a:ext>
            </a:extLst>
          </p:cNvPr>
          <p:cNvSpPr txBox="1"/>
          <p:nvPr userDrawn="1"/>
        </p:nvSpPr>
        <p:spPr>
          <a:xfrm>
            <a:off x="2031541" y="4094064"/>
            <a:ext cx="56864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 dirty="0"/>
              <a:t>Follow us on</a:t>
            </a:r>
          </a:p>
          <a:p>
            <a:pPr algn="l"/>
            <a:r>
              <a:rPr lang="en-GB" sz="2800" b="1" noProof="0" dirty="0"/>
              <a:t>LinkedIn</a:t>
            </a:r>
          </a:p>
        </p:txBody>
      </p:sp>
      <p:pic>
        <p:nvPicPr>
          <p:cNvPr id="43" name="Grafik 42">
            <a:extLst>
              <a:ext uri="{FF2B5EF4-FFF2-40B4-BE49-F238E27FC236}">
                <a16:creationId xmlns:a16="http://schemas.microsoft.com/office/drawing/2014/main" id="{63750DFE-C097-42B8-8B7F-0FF0074A6674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biLevel thresh="75000"/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070" y="4072964"/>
            <a:ext cx="891171" cy="891171"/>
          </a:xfrm>
          <a:prstGeom prst="rect">
            <a:avLst/>
          </a:prstGeom>
        </p:spPr>
      </p:pic>
      <p:pic>
        <p:nvPicPr>
          <p:cNvPr id="44" name="Grafik 43" descr="Internet mit einfarbiger Füllung">
            <a:extLst>
              <a:ext uri="{FF2B5EF4-FFF2-40B4-BE49-F238E27FC236}">
                <a16:creationId xmlns:a16="http://schemas.microsoft.com/office/drawing/2014/main" id="{EBE698EE-D984-4A93-8941-028F52967A42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52130" y="2418907"/>
            <a:ext cx="1176670" cy="1176670"/>
          </a:xfrm>
          <a:prstGeom prst="rect">
            <a:avLst/>
          </a:prstGeom>
        </p:spPr>
      </p:pic>
      <p:sp>
        <p:nvSpPr>
          <p:cNvPr id="45" name="Textfeld 44">
            <a:extLst>
              <a:ext uri="{FF2B5EF4-FFF2-40B4-BE49-F238E27FC236}">
                <a16:creationId xmlns:a16="http://schemas.microsoft.com/office/drawing/2014/main" id="{80443652-0FBD-4A6D-B357-1F10D521E35A}"/>
              </a:ext>
            </a:extLst>
          </p:cNvPr>
          <p:cNvSpPr txBox="1"/>
          <p:nvPr userDrawn="1"/>
        </p:nvSpPr>
        <p:spPr>
          <a:xfrm>
            <a:off x="2028796" y="2576695"/>
            <a:ext cx="56864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 dirty="0"/>
              <a:t>Visit us at</a:t>
            </a:r>
          </a:p>
          <a:p>
            <a:pPr algn="l"/>
            <a:r>
              <a:rPr lang="en-GB" sz="2800" b="1" noProof="0" dirty="0"/>
              <a:t>Landbell-group.com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34F31FB-86B3-45C0-9330-32AC74D07C06}"/>
              </a:ext>
            </a:extLst>
          </p:cNvPr>
          <p:cNvSpPr txBox="1"/>
          <p:nvPr userDrawn="1"/>
        </p:nvSpPr>
        <p:spPr>
          <a:xfrm>
            <a:off x="2006488" y="3550823"/>
            <a:ext cx="82930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noProof="0" dirty="0"/>
              <a:t>&amp;</a:t>
            </a:r>
          </a:p>
        </p:txBody>
      </p:sp>
    </p:spTree>
    <p:extLst>
      <p:ext uri="{BB962C8B-B14F-4D97-AF65-F5344CB8AC3E}">
        <p14:creationId xmlns:p14="http://schemas.microsoft.com/office/powerpoint/2010/main" val="286063715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el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9C3F8FA1-FF3A-4311-8AE0-51E34AAE84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69" r="1313"/>
          <a:stretch/>
        </p:blipFill>
        <p:spPr>
          <a:xfrm>
            <a:off x="0" y="-94037"/>
            <a:ext cx="12192000" cy="6952037"/>
          </a:xfrm>
          <a:prstGeom prst="rect">
            <a:avLst/>
          </a:prstGeom>
        </p:spPr>
      </p:pic>
      <p:pic>
        <p:nvPicPr>
          <p:cNvPr id="14" name="Bild" descr="Bild">
            <a:extLst>
              <a:ext uri="{FF2B5EF4-FFF2-40B4-BE49-F238E27FC236}">
                <a16:creationId xmlns:a16="http://schemas.microsoft.com/office/drawing/2014/main" id="{6D2F0204-CEF2-4C13-A678-B3FFDFF7A89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97828" y="550695"/>
            <a:ext cx="1743309" cy="634992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BC2EEC31-3366-408B-B7B8-CA336E0579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61975" y="4291148"/>
            <a:ext cx="8470605" cy="867930"/>
          </a:xfrm>
        </p:spPr>
        <p:txBody>
          <a:bodyPr wrap="square" tIns="36000" bIns="36000" anchor="b">
            <a:spAutoFit/>
          </a:bodyPr>
          <a:lstStyle>
            <a:lvl1pPr algn="l">
              <a:defRPr sz="2800" cap="all" baseline="0">
                <a:solidFill>
                  <a:srgbClr val="0C297A"/>
                </a:solidFill>
                <a:latin typeface="+mj-lt"/>
              </a:defRPr>
            </a:lvl1pPr>
          </a:lstStyle>
          <a:p>
            <a:r>
              <a:rPr lang="en-US" noProof="0"/>
              <a:t>Presentation titlE</a:t>
            </a:r>
            <a:br>
              <a:rPr lang="en-US" noProof="0"/>
            </a:br>
            <a:r>
              <a:rPr lang="en-US" noProof="0"/>
              <a:t>this is the second line</a:t>
            </a: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E7032B91-4E0C-439E-BA97-84DF193E6B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61975" y="5163671"/>
            <a:ext cx="8470605" cy="658446"/>
          </a:xfrm>
        </p:spPr>
        <p:txBody>
          <a:bodyPr lIns="10800" tIns="3600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aseline="0">
                <a:solidFill>
                  <a:srgbClr val="404040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dd/mm/yy</a:t>
            </a:r>
            <a:br>
              <a:rPr lang="en-US" noProof="0"/>
            </a:br>
            <a:r>
              <a:rPr lang="en-US" noProof="0"/>
              <a:t>Name Speaker</a:t>
            </a:r>
          </a:p>
        </p:txBody>
      </p:sp>
      <p:pic>
        <p:nvPicPr>
          <p:cNvPr id="11" name="Grafik 10" descr="Ein Bild, das Text, Schild, Geschirr enthält.&#10;&#10;Automatisch generierte Beschreibung">
            <a:extLst>
              <a:ext uri="{FF2B5EF4-FFF2-40B4-BE49-F238E27FC236}">
                <a16:creationId xmlns:a16="http://schemas.microsoft.com/office/drawing/2014/main" id="{C240D7E8-AF19-4334-82BB-5E395FCA540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61975" y="650279"/>
            <a:ext cx="2458806" cy="565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40169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drinnen, Container, Abfalleimer enthält.&#10;&#10;Automatisch generierte Beschreibung">
            <a:extLst>
              <a:ext uri="{FF2B5EF4-FFF2-40B4-BE49-F238E27FC236}">
                <a16:creationId xmlns:a16="http://schemas.microsoft.com/office/drawing/2014/main" id="{531C1B21-4E6A-4779-9A80-73B923EA2F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C5E6CE2-E918-44D9-B653-3EE218B389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19369" y="773413"/>
            <a:ext cx="2521769" cy="5796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F7CCEB3-1764-4EBC-95B2-905C8AB6018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91355" y="6020745"/>
            <a:ext cx="1748968" cy="579600"/>
          </a:xfrm>
          <a:prstGeom prst="rect">
            <a:avLst/>
          </a:prstGeom>
        </p:spPr>
      </p:pic>
      <p:sp>
        <p:nvSpPr>
          <p:cNvPr id="16" name="Titel 1">
            <a:extLst>
              <a:ext uri="{FF2B5EF4-FFF2-40B4-BE49-F238E27FC236}">
                <a16:creationId xmlns:a16="http://schemas.microsoft.com/office/drawing/2014/main" id="{5C773A2C-C02F-4DA5-BF99-1CF2AF37DD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61975" y="4291148"/>
            <a:ext cx="8470605" cy="867930"/>
          </a:xfrm>
        </p:spPr>
        <p:txBody>
          <a:bodyPr wrap="square" tIns="36000" bIns="36000" anchor="b">
            <a:spAutoFit/>
          </a:bodyPr>
          <a:lstStyle>
            <a:lvl1pPr algn="l">
              <a:defRPr lang="de-DE" sz="2800" b="1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resentation titlE</a:t>
            </a:r>
            <a:br>
              <a:rPr lang="en-US" noProof="0"/>
            </a:br>
            <a:r>
              <a:rPr lang="en-US" noProof="0"/>
              <a:t>this is the second line</a:t>
            </a:r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549DF18D-E9EC-440C-A87C-AD141DF7FAA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61975" y="5163671"/>
            <a:ext cx="8470605" cy="658446"/>
          </a:xfrm>
        </p:spPr>
        <p:txBody>
          <a:bodyPr lIns="10800" tIns="3600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dd/mm/yy</a:t>
            </a:r>
            <a:br>
              <a:rPr lang="en-US" noProof="0"/>
            </a:br>
            <a:r>
              <a:rPr lang="en-US" noProof="0"/>
              <a:t>Name Speaker</a:t>
            </a:r>
          </a:p>
        </p:txBody>
      </p:sp>
    </p:spTree>
    <p:extLst>
      <p:ext uri="{BB962C8B-B14F-4D97-AF65-F5344CB8AC3E}">
        <p14:creationId xmlns:p14="http://schemas.microsoft.com/office/powerpoint/2010/main" val="108961525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asse, Glas, Geschirr enthält.&#10;&#10;Automatisch generierte Beschreibung">
            <a:extLst>
              <a:ext uri="{FF2B5EF4-FFF2-40B4-BE49-F238E27FC236}">
                <a16:creationId xmlns:a16="http://schemas.microsoft.com/office/drawing/2014/main" id="{E9610260-BE21-4F19-8D51-6567E7B258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64B2A08-AC7D-4C0E-85B0-75ED13F496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1975" y="634517"/>
            <a:ext cx="2521769" cy="5796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603443E-6B6D-4765-9E77-C56A0CA32A6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91355" y="6020745"/>
            <a:ext cx="1748968" cy="579600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C7169B6D-B0FA-41BC-9D68-CD927D38A97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61975" y="4291148"/>
            <a:ext cx="8470605" cy="867930"/>
          </a:xfrm>
        </p:spPr>
        <p:txBody>
          <a:bodyPr wrap="square" tIns="36000" bIns="36000" anchor="b">
            <a:spAutoFit/>
          </a:bodyPr>
          <a:lstStyle>
            <a:lvl1pPr algn="l">
              <a:defRPr lang="de-DE" sz="2800" b="1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resentation titlE</a:t>
            </a:r>
            <a:br>
              <a:rPr lang="en-US" noProof="0"/>
            </a:br>
            <a:r>
              <a:rPr lang="en-US" noProof="0"/>
              <a:t>this is the second line</a:t>
            </a:r>
          </a:p>
        </p:txBody>
      </p:sp>
      <p:sp>
        <p:nvSpPr>
          <p:cNvPr id="14" name="Untertitel 2">
            <a:extLst>
              <a:ext uri="{FF2B5EF4-FFF2-40B4-BE49-F238E27FC236}">
                <a16:creationId xmlns:a16="http://schemas.microsoft.com/office/drawing/2014/main" id="{9E407F96-D028-4E6E-91BB-F509B68B9CB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61975" y="5163671"/>
            <a:ext cx="8470605" cy="658446"/>
          </a:xfrm>
        </p:spPr>
        <p:txBody>
          <a:bodyPr lIns="10800" tIns="3600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dd/mm/yy</a:t>
            </a:r>
            <a:br>
              <a:rPr lang="en-US" noProof="0"/>
            </a:br>
            <a:r>
              <a:rPr lang="en-US" noProof="0"/>
              <a:t>Name Speaker</a:t>
            </a:r>
          </a:p>
        </p:txBody>
      </p:sp>
    </p:spTree>
    <p:extLst>
      <p:ext uri="{BB962C8B-B14F-4D97-AF65-F5344CB8AC3E}">
        <p14:creationId xmlns:p14="http://schemas.microsoft.com/office/powerpoint/2010/main" val="156171768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Slide Gre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499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FE12CA0-62B3-4186-A81F-B5ECD17E0B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0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034143"/>
            <a:ext cx="1290638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6918" y="2034143"/>
            <a:ext cx="7665722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057A1160-F03B-4585-A9BE-DE4693201CF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8910B592-E1BA-485B-8EF5-D86D9FC91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65B8136-4BAB-4B10-A19A-D6C9A584A0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63283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Pictur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0BA84829-C692-49DF-92E6-5E943D0588DB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6CAFC21-F56A-4FE1-8FB9-D1C4251D35D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73124" y="549789"/>
            <a:ext cx="418507" cy="42986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4692AF9-5E15-463D-8564-2D047EE282C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83334" y="955154"/>
            <a:ext cx="332965" cy="342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3A5E0E8-61CE-449A-9928-5A34B1162B1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3306" y="887935"/>
            <a:ext cx="305500" cy="31379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83294AE-BAAB-4D68-ABA0-B4A2AA0FBC1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75562" y="1201725"/>
            <a:ext cx="319058" cy="327716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6E718F8-5C8A-4BBA-A1F0-D21F3EA97C4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82431" y="2310814"/>
            <a:ext cx="399895" cy="410746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BFED410-D64E-4908-9D50-35E70B04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3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BFED410-D64E-4908-9D50-35E70B04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51CC0C-A64F-4386-9665-973CF03433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2" name="Bild" descr="Bild">
            <a:extLst>
              <a:ext uri="{FF2B5EF4-FFF2-40B4-BE49-F238E27FC236}">
                <a16:creationId xmlns:a16="http://schemas.microsoft.com/office/drawing/2014/main" id="{29E0021C-7FBF-4A80-8903-928DA84B031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945459" y="6070608"/>
            <a:ext cx="1743309" cy="634992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itel 1">
            <a:extLst>
              <a:ext uri="{FF2B5EF4-FFF2-40B4-BE49-F238E27FC236}">
                <a16:creationId xmlns:a16="http://schemas.microsoft.com/office/drawing/2014/main" id="{2DB1E560-5CF0-4158-B55C-9C95FF6E88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550863" y="3712776"/>
            <a:ext cx="8470605" cy="867930"/>
          </a:xfrm>
        </p:spPr>
        <p:txBody>
          <a:bodyPr wrap="square" tIns="36000" bIns="36000" anchor="b">
            <a:spAutoFit/>
          </a:bodyPr>
          <a:lstStyle>
            <a:lvl1pPr algn="l">
              <a:defRPr lang="de-DE" sz="2800" b="1" kern="1200" cap="all" baseline="0" dirty="0">
                <a:solidFill>
                  <a:srgbClr val="0C297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Presentation titlE</a:t>
            </a:r>
            <a:br>
              <a:rPr lang="en-US" noProof="0"/>
            </a:br>
            <a:r>
              <a:rPr lang="en-US" noProof="0"/>
              <a:t>this is the second line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BEA4FBFC-2217-43B6-9C6D-65042746C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550863" y="4585299"/>
            <a:ext cx="8470605" cy="658446"/>
          </a:xfrm>
        </p:spPr>
        <p:txBody>
          <a:bodyPr lIns="10800" tIns="36000">
            <a:norm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800" baseline="0">
                <a:solidFill>
                  <a:srgbClr val="404040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dd/mm/yy</a:t>
            </a:r>
            <a:br>
              <a:rPr lang="en-US" noProof="0"/>
            </a:br>
            <a:r>
              <a:rPr lang="en-US" noProof="0"/>
              <a:t>Name Speaker</a:t>
            </a:r>
          </a:p>
        </p:txBody>
      </p:sp>
      <p:pic>
        <p:nvPicPr>
          <p:cNvPr id="19" name="Grafik 18" descr="Ein Bild, das Text, Schild, Geschirr enthält.&#10;&#10;Automatisch generierte Beschreibung">
            <a:extLst>
              <a:ext uri="{FF2B5EF4-FFF2-40B4-BE49-F238E27FC236}">
                <a16:creationId xmlns:a16="http://schemas.microsoft.com/office/drawing/2014/main" id="{096B03C7-EA8A-4A72-8029-5A653389F4D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160473" y="1492590"/>
            <a:ext cx="2621904" cy="60261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D3081A1-D3B5-40A0-A25D-DEC75F351B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86" t="-3803" r="74506"/>
          <a:stretch/>
        </p:blipFill>
        <p:spPr>
          <a:xfrm>
            <a:off x="11082527" y="1966315"/>
            <a:ext cx="484848" cy="410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44969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59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50861" y="1341438"/>
            <a:ext cx="11090275" cy="553998"/>
          </a:xfrm>
        </p:spPr>
        <p:txBody>
          <a:bodyPr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de-DE"/>
              <a:t>Conten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4967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AECE3913-01F6-4EA4-96B8-F2B5E42D2D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|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40CA5C9-E214-48DC-9BA9-750377108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967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2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B6D2205A-BCD4-4283-B300-E2EA360217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|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126551-CE7F-48F4-B8E2-93AB04D82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967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3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FCBD804A-8BF4-466A-B044-C4CC8D3170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395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|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9138FA3B-B919-41E0-B814-E8DA49840A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0276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4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233AAE30-57AC-4F14-A285-21CD7ECEB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0395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5|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A880A1FD-C01B-4B33-BC03-32B8BC28A7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0276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5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17EC8040-43B7-46D6-90E7-8E73A5CFEF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5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6|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FC9CAC4A-3009-41A3-973B-ED82D1ED05B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0276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6</a:t>
            </a: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44146D40-F97B-49CC-8297-DC62269C9C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1A328829-2552-4A72-BE1E-758058B3F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66F98054-AFE7-4EA4-A651-12E515700E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704268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Gre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10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1BDAC33B-3F9A-4EC2-BD34-D96FF5C865EE}"/>
              </a:ext>
            </a:extLst>
          </p:cNvPr>
          <p:cNvSpPr/>
          <p:nvPr userDrawn="1"/>
        </p:nvSpPr>
        <p:spPr>
          <a:xfrm>
            <a:off x="0" y="0"/>
            <a:ext cx="12192000" cy="6127200"/>
          </a:xfrm>
          <a:prstGeom prst="rect">
            <a:avLst/>
          </a:prstGeom>
          <a:solidFill>
            <a:srgbClr val="DADAD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err="1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50861" y="1341438"/>
            <a:ext cx="11090275" cy="553998"/>
          </a:xfrm>
        </p:spPr>
        <p:txBody>
          <a:bodyPr/>
          <a:lstStyle>
            <a:lvl1pPr>
              <a:defRPr sz="4000" b="1">
                <a:solidFill>
                  <a:schemeClr val="tx1"/>
                </a:solidFill>
              </a:defRPr>
            </a:lvl1pPr>
          </a:lstStyle>
          <a:p>
            <a:r>
              <a:rPr lang="de-DE"/>
              <a:t>Conten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4967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AECE3913-01F6-4EA4-96B8-F2B5E42D2D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|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40CA5C9-E214-48DC-9BA9-750377108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967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2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B6D2205A-BCD4-4283-B300-E2EA360217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|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126551-CE7F-48F4-B8E2-93AB04D82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967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3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FCBD804A-8BF4-466A-B044-C4CC8D3170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395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|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9138FA3B-B919-41E0-B814-E8DA49840A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0276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4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233AAE30-57AC-4F14-A285-21CD7ECEB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0395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5|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A880A1FD-C01B-4B33-BC03-32B8BC28A7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0276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5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17EC8040-43B7-46D6-90E7-8E73A5CFEF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5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6|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FC9CAC4A-3009-41A3-973B-ED82D1ED05B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0276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6</a:t>
            </a:r>
          </a:p>
        </p:txBody>
      </p:sp>
      <p:sp>
        <p:nvSpPr>
          <p:cNvPr id="24" name="Datumsplatzhalter 3">
            <a:extLst>
              <a:ext uri="{FF2B5EF4-FFF2-40B4-BE49-F238E27FC236}">
                <a16:creationId xmlns:a16="http://schemas.microsoft.com/office/drawing/2014/main" id="{1E295484-97BE-454E-84FD-0FCF948F1C6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25" name="Fußzeilenplatzhalter 4">
            <a:extLst>
              <a:ext uri="{FF2B5EF4-FFF2-40B4-BE49-F238E27FC236}">
                <a16:creationId xmlns:a16="http://schemas.microsoft.com/office/drawing/2014/main" id="{0F9783A8-5DD6-4BD9-8451-CE67EFA525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26" name="Foliennummernplatzhalter 5">
            <a:extLst>
              <a:ext uri="{FF2B5EF4-FFF2-40B4-BE49-F238E27FC236}">
                <a16:creationId xmlns:a16="http://schemas.microsoft.com/office/drawing/2014/main" id="{BB0AFB8A-BB6C-46A0-900B-25A4F63AD2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  <p:pic>
        <p:nvPicPr>
          <p:cNvPr id="28" name="Grafik 27" descr="Ein Bild, das Text, Schild, Geschirr enthält.&#10;&#10;Automatisch generierte Beschreibung">
            <a:extLst>
              <a:ext uri="{FF2B5EF4-FFF2-40B4-BE49-F238E27FC236}">
                <a16:creationId xmlns:a16="http://schemas.microsoft.com/office/drawing/2014/main" id="{DD09ED41-84CE-465A-AE9A-AEF4E3491C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099695" y="448615"/>
            <a:ext cx="1559024" cy="358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7629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Gre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499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FE12CA0-62B3-4186-A81F-B5ECD17E0B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0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034143"/>
            <a:ext cx="1290638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6918" y="2034143"/>
            <a:ext cx="7665722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057A1160-F03B-4585-A9BE-DE4693201CF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8910B592-E1BA-485B-8EF5-D86D9FC91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65B8136-4BAB-4B10-A19A-D6C9A584A0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05129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Slide Gre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1BDAC33B-3F9A-4EC2-BD34-D96FF5C865EE}"/>
              </a:ext>
            </a:extLst>
          </p:cNvPr>
          <p:cNvSpPr/>
          <p:nvPr userDrawn="1"/>
        </p:nvSpPr>
        <p:spPr>
          <a:xfrm>
            <a:off x="0" y="0"/>
            <a:ext cx="12192000" cy="6127200"/>
          </a:xfrm>
          <a:prstGeom prst="rect">
            <a:avLst/>
          </a:prstGeom>
          <a:solidFill>
            <a:srgbClr val="DADAD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err="1"/>
          </a:p>
        </p:txBody>
      </p:sp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7499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FE12CA0-62B3-4186-A81F-B5ECD17E0B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0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034143"/>
            <a:ext cx="1290638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6918" y="2034143"/>
            <a:ext cx="7665722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057A1160-F03B-4585-A9BE-DE4693201CF5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8910B592-E1BA-485B-8EF5-D86D9FC91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465B8136-4BAB-4B10-A19A-D6C9A584A0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  <p:pic>
        <p:nvPicPr>
          <p:cNvPr id="11" name="Grafik 10" descr="Ein Bild, das Text, Schild, Geschirr enthält.&#10;&#10;Automatisch generierte Beschreibung">
            <a:extLst>
              <a:ext uri="{FF2B5EF4-FFF2-40B4-BE49-F238E27FC236}">
                <a16:creationId xmlns:a16="http://schemas.microsoft.com/office/drawing/2014/main" id="{B58AA89A-4230-4307-A5D5-DF42B7AA8A2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99695" y="448615"/>
            <a:ext cx="1559024" cy="358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33454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896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A419400-9A09-48A1-A7F9-B54AB031E2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click here to insert headli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341438"/>
            <a:ext cx="11090276" cy="4464050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/>
            </a:lvl1pPr>
            <a:lvl2pPr>
              <a:lnSpc>
                <a:spcPts val="1900"/>
              </a:lnSpc>
              <a:buClrTx/>
              <a:defRPr/>
            </a:lvl2pPr>
            <a:lvl3pPr>
              <a:lnSpc>
                <a:spcPts val="1900"/>
              </a:lnSpc>
              <a:spcBef>
                <a:spcPts val="600"/>
              </a:spcBef>
              <a:buClrTx/>
              <a:defRPr/>
            </a:lvl3pPr>
            <a:lvl4pPr>
              <a:lnSpc>
                <a:spcPts val="1900"/>
              </a:lnSpc>
              <a:spcBef>
                <a:spcPts val="600"/>
              </a:spcBef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59093958-DD28-4A40-A9F6-D9BB2A14A84E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de-DE"/>
              <a:t>Apr 2022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B8B2DA53-1862-4E60-8762-F5838333D5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B22E121-F271-44D0-9AD9-048D837810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2200988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Gre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671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179A2FA-7C42-4755-8032-5FF5AA8BBF8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6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963CFA90-56F2-4F27-8A79-C8DC69D5E793}"/>
              </a:ext>
            </a:extLst>
          </p:cNvPr>
          <p:cNvSpPr/>
          <p:nvPr userDrawn="1"/>
        </p:nvSpPr>
        <p:spPr>
          <a:xfrm>
            <a:off x="0" y="1"/>
            <a:ext cx="12192000" cy="6127200"/>
          </a:xfrm>
          <a:prstGeom prst="rect">
            <a:avLst/>
          </a:prstGeom>
          <a:solidFill>
            <a:srgbClr val="DADAD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err="1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click here to insert headli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1341438"/>
            <a:ext cx="11090276" cy="42481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93735C59-5A82-41A5-B546-1776984064D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1601141C-8B1E-45D4-BC9C-0BA48DD2FD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B441F8D6-1E69-4166-A72C-B5DC0AB70E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  <p:pic>
        <p:nvPicPr>
          <p:cNvPr id="11" name="Grafik 10" descr="Ein Bild, das Text, Schild, Geschirr enthält.&#10;&#10;Automatisch generierte Beschreibung">
            <a:extLst>
              <a:ext uri="{FF2B5EF4-FFF2-40B4-BE49-F238E27FC236}">
                <a16:creationId xmlns:a16="http://schemas.microsoft.com/office/drawing/2014/main" id="{59D8C460-4625-4611-8C44-871385E8211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099695" y="448615"/>
            <a:ext cx="1559024" cy="358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690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Textbox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3025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1A89C9FB-5403-4F06-A66E-AB96686BCA7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click here to insert headli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163726-6E90-4016-B867-B199B92A89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41438"/>
            <a:ext cx="5437187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F36B43D-F444-473A-921E-C5C7386D67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0" y="1341438"/>
            <a:ext cx="5437188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3" name="Datumsplatzhalter 3">
            <a:extLst>
              <a:ext uri="{FF2B5EF4-FFF2-40B4-BE49-F238E27FC236}">
                <a16:creationId xmlns:a16="http://schemas.microsoft.com/office/drawing/2014/main" id="{0246D335-FD5A-4402-AAC6-4EFDE5EDE1B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14" name="Fußzeilenplatzhalter 4">
            <a:extLst>
              <a:ext uri="{FF2B5EF4-FFF2-40B4-BE49-F238E27FC236}">
                <a16:creationId xmlns:a16="http://schemas.microsoft.com/office/drawing/2014/main" id="{934AEE60-9E6D-4254-9F96-96CB3753EB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5" name="Foliennummernplatzhalter 5">
            <a:extLst>
              <a:ext uri="{FF2B5EF4-FFF2-40B4-BE49-F238E27FC236}">
                <a16:creationId xmlns:a16="http://schemas.microsoft.com/office/drawing/2014/main" id="{D2FD12E2-3271-48D2-B1EE-13A4F43F7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311678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59699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1C95379-C338-4098-ACF2-A4A90DC9C2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click here to insert headli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4C1680E-35DF-4BE4-BAC4-77D1EF79243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62" y="1341438"/>
            <a:ext cx="11090276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7EC0622A-5544-4081-A9A4-9A4DAD1E33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7E7A531F-BDEF-46BE-843E-493CC96F9F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1823F387-FEC2-4817-8A78-37B652A2FF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9809118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6679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DA99AB9-1574-4FF3-9A2A-F51D9550AF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click here to insert headline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4C1680E-35DF-4BE4-BAC4-77D1EF79243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50862" y="1341438"/>
            <a:ext cx="5437188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D9C1EE6-D75B-4A74-9D6C-120BF118C0BE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03950" y="1341438"/>
            <a:ext cx="5437188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D2D34660-546E-4E98-9343-AE6FFEDDC3E7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0F6E4CEC-978E-4DED-B96A-70D0DAD370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BB2C5CCF-F2F5-43A4-8465-1E8494B972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77720093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 Pictur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feld 18">
            <a:extLst>
              <a:ext uri="{FF2B5EF4-FFF2-40B4-BE49-F238E27FC236}">
                <a16:creationId xmlns:a16="http://schemas.microsoft.com/office/drawing/2014/main" id="{B4FF837F-DB01-4587-BBA7-54488EAD9C73}"/>
              </a:ext>
            </a:extLst>
          </p:cNvPr>
          <p:cNvSpPr txBox="1"/>
          <p:nvPr userDrawn="1"/>
        </p:nvSpPr>
        <p:spPr>
          <a:xfrm>
            <a:off x="-8027" y="0"/>
            <a:ext cx="12192000" cy="6858000"/>
          </a:xfrm>
          <a:prstGeom prst="rect">
            <a:avLst/>
          </a:prstGeom>
          <a:solidFill>
            <a:srgbClr val="404040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Bef>
                <a:spcPts val="1200"/>
              </a:spcBef>
            </a:pPr>
            <a:endParaRPr lang="de-DE" sz="1600" noProof="0" dirty="0" err="1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BFED410-D64E-4908-9D50-35E70B04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69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BFED410-D64E-4908-9D50-35E70B04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51CC0C-A64F-4386-9665-973CF03433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B4F1391-40A9-4C55-82FE-E309E841C1F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0863" y="574923"/>
            <a:ext cx="2215879" cy="734332"/>
          </a:xfrm>
          <a:prstGeom prst="rect">
            <a:avLst/>
          </a:prstGeom>
        </p:spPr>
      </p:pic>
      <p:sp>
        <p:nvSpPr>
          <p:cNvPr id="27" name="Titel 1">
            <a:extLst>
              <a:ext uri="{FF2B5EF4-FFF2-40B4-BE49-F238E27FC236}">
                <a16:creationId xmlns:a16="http://schemas.microsoft.com/office/drawing/2014/main" id="{E14CB5B0-B81C-47C5-81DA-6BB0148877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3321074"/>
            <a:ext cx="8470605" cy="867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resentation title</a:t>
            </a:r>
            <a:br>
              <a:rPr lang="en-GB" noProof="0"/>
            </a:br>
            <a:r>
              <a:rPr lang="en-GB" noProof="0"/>
              <a:t>This is a second line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FA7E567D-2FEC-4AA6-B983-93ADFD5C7B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4189004"/>
            <a:ext cx="8470605" cy="65844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/>
              <a:t>dd/mm/yy</a:t>
            </a:r>
          </a:p>
          <a:p>
            <a:r>
              <a:rPr lang="en-GB" noProof="0"/>
              <a:t>Name Speaker</a:t>
            </a:r>
          </a:p>
        </p:txBody>
      </p:sp>
      <p:pic>
        <p:nvPicPr>
          <p:cNvPr id="10" name="Grafik 9" descr="Ein Bild, das Text, Gerät, Systemsteuerung enthält.&#10;&#10;Automatisch generierte Beschreibung">
            <a:extLst>
              <a:ext uri="{FF2B5EF4-FFF2-40B4-BE49-F238E27FC236}">
                <a16:creationId xmlns:a16="http://schemas.microsoft.com/office/drawing/2014/main" id="{DAE9D22F-BBD6-42E6-A41C-6E6FEA3645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86"/>
          <a:stretch/>
        </p:blipFill>
        <p:spPr>
          <a:xfrm>
            <a:off x="6203950" y="0"/>
            <a:ext cx="59880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276243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720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FC9C9ADA-6DF2-4A4F-A2F3-A96D5886F0C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click here to insert headli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B163726-6E90-4016-B867-B199B92A89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1341438"/>
            <a:ext cx="5437187" cy="4464050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65534DA-2ABA-40B5-BDEC-55F445D16F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03950" y="1341438"/>
            <a:ext cx="5437188" cy="4464050"/>
          </a:xfrm>
          <a:prstGeom prst="rect">
            <a:avLst/>
          </a:prstGeom>
          <a:solidFill>
            <a:srgbClr val="DADADA"/>
          </a:solidFill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7C2A03B1-6972-464D-BD3E-1B14163DDBA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13" name="Fußzeilenplatzhalter 4">
            <a:extLst>
              <a:ext uri="{FF2B5EF4-FFF2-40B4-BE49-F238E27FC236}">
                <a16:creationId xmlns:a16="http://schemas.microsoft.com/office/drawing/2014/main" id="{4ECB8FF1-A8EB-4F0A-9989-510CD18D8A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4" name="Foliennummernplatzhalter 5">
            <a:extLst>
              <a:ext uri="{FF2B5EF4-FFF2-40B4-BE49-F238E27FC236}">
                <a16:creationId xmlns:a16="http://schemas.microsoft.com/office/drawing/2014/main" id="{3BCC8880-9C0D-4F46-A702-CCFAC4C993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1362024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359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E73808E-6DB5-4ECE-BADF-3AE90E9406E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click here to insert headline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65534DA-2ABA-40B5-BDEC-55F445D16F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50863" y="1341438"/>
            <a:ext cx="11090275" cy="4464050"/>
          </a:xfrm>
          <a:prstGeom prst="rect">
            <a:avLst/>
          </a:prstGeom>
          <a:solidFill>
            <a:srgbClr val="DADADA"/>
          </a:solidFill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544711C1-89DD-4960-99A9-DA866F0B7A23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290B67B8-7FDA-47D5-B69A-A81B94F963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7883F25B-60B8-4170-B8D7-D63FAC2834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7533143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1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A99035-D520-4036-82EC-0E5EA9913C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581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A99035-D520-4036-82EC-0E5EA9913C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ontact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0863" y="1341438"/>
            <a:ext cx="5437188" cy="4464050"/>
          </a:xfrm>
          <a:prstGeom prst="rect">
            <a:avLst/>
          </a:prstGeom>
          <a:solidFill>
            <a:srgbClr val="DADADA"/>
          </a:solidFill>
        </p:spPr>
        <p:txBody>
          <a:bodyPr vert="horz" lIns="0" tIns="360000" rIns="91440" bIns="45720" rtlCol="0">
            <a:normAutofit/>
          </a:bodyPr>
          <a:lstStyle>
            <a:lvl1pPr marL="0" indent="0" algn="ctr">
              <a:buNone/>
              <a:defRPr lang="de-DE" sz="1600" dirty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EF7555B-FD10-4601-B675-53ED79E829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03950" y="1341438"/>
            <a:ext cx="5437188" cy="614362"/>
          </a:xfrm>
          <a:prstGeom prst="rect">
            <a:avLst/>
          </a:prstGeom>
        </p:spPr>
        <p:txBody>
          <a:bodyPr/>
          <a:lstStyle>
            <a:lvl2pPr marL="0" indent="0">
              <a:buClrTx/>
              <a:buNone/>
              <a:defRPr/>
            </a:lvl2pPr>
          </a:lstStyle>
          <a:p>
            <a:pPr lvl="0"/>
            <a:r>
              <a:rPr lang="en-US" noProof="0" dirty="0"/>
              <a:t>Edit master format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E115B43-77B0-4490-8CFC-F8206BB1C6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50" y="2665763"/>
            <a:ext cx="5437188" cy="24622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B406702C-3F47-4C8E-986D-A3AA8CE808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03950" y="2969317"/>
            <a:ext cx="5437188" cy="24622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FD92055-068D-4797-9B28-3BA46E9FF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03950" y="3429000"/>
            <a:ext cx="5437188" cy="2376488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23F04D5-266B-4925-8376-0C293C54D0F2}"/>
              </a:ext>
            </a:extLst>
          </p:cNvPr>
          <p:cNvCxnSpPr/>
          <p:nvPr userDrawn="1"/>
        </p:nvCxnSpPr>
        <p:spPr>
          <a:xfrm>
            <a:off x="6203950" y="2940651"/>
            <a:ext cx="543718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952329BE-603C-4094-B243-FAB14123C52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DFBC3C74-4E29-4FD4-9FF6-37182AB690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9C2940E6-F005-4664-97E6-4CB53720B8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2955101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2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A99035-D520-4036-82EC-0E5EA9913C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9217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A99035-D520-4036-82EC-0E5EA9913C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Contact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0862" y="2777821"/>
            <a:ext cx="2587541" cy="3027667"/>
          </a:xfrm>
          <a:prstGeom prst="rect">
            <a:avLst/>
          </a:prstGeom>
          <a:solidFill>
            <a:srgbClr val="DADADA"/>
          </a:solidFill>
        </p:spPr>
        <p:txBody>
          <a:bodyPr vert="horz" lIns="0" tIns="360000" rIns="91440" bIns="45720" rtlCol="0">
            <a:normAutofit/>
          </a:bodyPr>
          <a:lstStyle>
            <a:lvl1pPr marL="0" indent="0" algn="ctr">
              <a:buNone/>
              <a:defRPr lang="de-DE" sz="1600" dirty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EF7555B-FD10-4601-B675-53ED79E829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2" y="1341438"/>
            <a:ext cx="6954837" cy="614362"/>
          </a:xfrm>
          <a:prstGeom prst="rect">
            <a:avLst/>
          </a:prstGeom>
        </p:spPr>
        <p:txBody>
          <a:bodyPr/>
          <a:lstStyle>
            <a:lvl2pPr marL="0" indent="0">
              <a:buClrTx/>
              <a:buNone/>
              <a:defRPr/>
            </a:lvl2pPr>
          </a:lstStyle>
          <a:p>
            <a:pPr lvl="0"/>
            <a:r>
              <a:rPr lang="en-US" noProof="0" dirty="0"/>
              <a:t>Edit master format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E115B43-77B0-4490-8CFC-F8206BB1C6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69457" y="3085598"/>
            <a:ext cx="4236243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B406702C-3F47-4C8E-986D-A3AA8CE808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69457" y="3389152"/>
            <a:ext cx="4236243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FD92055-068D-4797-9B28-3BA46E9FF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69457" y="3848835"/>
            <a:ext cx="4236243" cy="1956653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23F04D5-266B-4925-8376-0C293C54D0F2}"/>
              </a:ext>
            </a:extLst>
          </p:cNvPr>
          <p:cNvCxnSpPr>
            <a:cxnSpLocks/>
          </p:cNvCxnSpPr>
          <p:nvPr userDrawn="1"/>
        </p:nvCxnSpPr>
        <p:spPr>
          <a:xfrm>
            <a:off x="3269457" y="3360486"/>
            <a:ext cx="423624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atumsplatzhalter 3">
            <a:extLst>
              <a:ext uri="{FF2B5EF4-FFF2-40B4-BE49-F238E27FC236}">
                <a16:creationId xmlns:a16="http://schemas.microsoft.com/office/drawing/2014/main" id="{6318AA8D-C3E4-48F8-BABD-63D8B010877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21" name="Fußzeilenplatzhalter 4">
            <a:extLst>
              <a:ext uri="{FF2B5EF4-FFF2-40B4-BE49-F238E27FC236}">
                <a16:creationId xmlns:a16="http://schemas.microsoft.com/office/drawing/2014/main" id="{6836C01C-0DFA-409A-86CF-88BEC02CE18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832462D2-0533-45D6-93B4-4C1BEAC52E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1339826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 3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A99035-D520-4036-82EC-0E5EA9913C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2226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A99035-D520-4036-82EC-0E5EA9913C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Contact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550862" y="2777821"/>
            <a:ext cx="2587541" cy="3027667"/>
          </a:xfrm>
          <a:prstGeom prst="rect">
            <a:avLst/>
          </a:prstGeom>
          <a:solidFill>
            <a:srgbClr val="DADADA"/>
          </a:solidFill>
        </p:spPr>
        <p:txBody>
          <a:bodyPr vert="horz" lIns="0" tIns="360000" rIns="91440" bIns="45720" rtlCol="0">
            <a:normAutofit/>
          </a:bodyPr>
          <a:lstStyle>
            <a:lvl1pPr marL="0" indent="0" algn="ctr">
              <a:buNone/>
              <a:defRPr lang="de-DE" sz="1600" dirty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EF7555B-FD10-4601-B675-53ED79E8299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2" y="1341438"/>
            <a:ext cx="6954837" cy="614362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buClrTx/>
              <a:defRPr/>
            </a:lvl2pPr>
          </a:lstStyle>
          <a:p>
            <a:pPr lvl="0"/>
            <a:r>
              <a:rPr lang="en-US" noProof="0" dirty="0"/>
              <a:t>Edit master format</a:t>
            </a:r>
          </a:p>
          <a:p>
            <a:pPr lvl="1"/>
            <a:endParaRPr lang="de-DE" dirty="0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0E115B43-77B0-4490-8CFC-F8206BB1C6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69457" y="3085598"/>
            <a:ext cx="2718593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B406702C-3F47-4C8E-986D-A3AA8CE808E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69457" y="3389152"/>
            <a:ext cx="2718593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5FD92055-068D-4797-9B28-3BA46E9FF74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269457" y="3848835"/>
            <a:ext cx="2718593" cy="1956653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23F04D5-266B-4925-8376-0C293C54D0F2}"/>
              </a:ext>
            </a:extLst>
          </p:cNvPr>
          <p:cNvCxnSpPr>
            <a:cxnSpLocks/>
          </p:cNvCxnSpPr>
          <p:nvPr userDrawn="1"/>
        </p:nvCxnSpPr>
        <p:spPr>
          <a:xfrm>
            <a:off x="3269457" y="3360486"/>
            <a:ext cx="27185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Bildplatzhalter 3">
            <a:extLst>
              <a:ext uri="{FF2B5EF4-FFF2-40B4-BE49-F238E27FC236}">
                <a16:creationId xmlns:a16="http://schemas.microsoft.com/office/drawing/2014/main" id="{3569D1FB-EEF8-4AE5-ADB3-E02EBF27177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220924" y="2777821"/>
            <a:ext cx="2587541" cy="3027667"/>
          </a:xfrm>
          <a:prstGeom prst="rect">
            <a:avLst/>
          </a:prstGeom>
          <a:solidFill>
            <a:srgbClr val="DADADA"/>
          </a:solidFill>
        </p:spPr>
        <p:txBody>
          <a:bodyPr vert="horz" lIns="0" tIns="360000" rIns="91440" bIns="45720" rtlCol="0">
            <a:normAutofit/>
          </a:bodyPr>
          <a:lstStyle>
            <a:lvl1pPr marL="0" indent="0" algn="ctr">
              <a:buNone/>
              <a:defRPr lang="de-DE" sz="1600" dirty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Please insert picture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0D02CDDC-DFF9-497B-A101-E79E00B49F3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39519" y="3085598"/>
            <a:ext cx="2718593" cy="24622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6993B0AD-E56C-4BE5-803E-2562A508A50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39519" y="3389152"/>
            <a:ext cx="2718593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b="1"/>
            </a:lvl1pPr>
            <a:lvl2pPr marL="0" indent="0">
              <a:buNone/>
              <a:defRPr b="1"/>
            </a:lvl2pPr>
          </a:lstStyle>
          <a:p>
            <a:pPr lvl="0"/>
            <a:r>
              <a:rPr lang="de-DE"/>
              <a:t>Position</a:t>
            </a:r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A711B2D2-8285-4016-8EE7-64F846C1A2E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39519" y="3848835"/>
            <a:ext cx="2718593" cy="1956653"/>
          </a:xfrm>
          <a:prstGeom prst="rect">
            <a:avLst/>
          </a:prstGeom>
        </p:spPr>
        <p:txBody>
          <a:bodyPr/>
          <a:lstStyle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</a:lstStyle>
          <a:p>
            <a:pPr lvl="0"/>
            <a:r>
              <a:rPr lang="en-US" noProof="0"/>
              <a:t>Please click here to edit master forma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0E422F3E-EE9C-488A-A4BA-448860022447}"/>
              </a:ext>
            </a:extLst>
          </p:cNvPr>
          <p:cNvCxnSpPr>
            <a:cxnSpLocks/>
          </p:cNvCxnSpPr>
          <p:nvPr userDrawn="1"/>
        </p:nvCxnSpPr>
        <p:spPr>
          <a:xfrm>
            <a:off x="8939519" y="3360486"/>
            <a:ext cx="2718593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atumsplatzhalter 3">
            <a:extLst>
              <a:ext uri="{FF2B5EF4-FFF2-40B4-BE49-F238E27FC236}">
                <a16:creationId xmlns:a16="http://schemas.microsoft.com/office/drawing/2014/main" id="{A58CD182-F28E-48D3-82C0-ECBCC8C7593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26" name="Fußzeilenplatzhalter 4">
            <a:extLst>
              <a:ext uri="{FF2B5EF4-FFF2-40B4-BE49-F238E27FC236}">
                <a16:creationId xmlns:a16="http://schemas.microsoft.com/office/drawing/2014/main" id="{2130A33B-3F26-4F18-BE0F-5E30BB27CA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27" name="Foliennummernplatzhalter 5">
            <a:extLst>
              <a:ext uri="{FF2B5EF4-FFF2-40B4-BE49-F238E27FC236}">
                <a16:creationId xmlns:a16="http://schemas.microsoft.com/office/drawing/2014/main" id="{C17C40C0-733C-4C04-A4DF-AA9F0D151B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7986502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4E80D70-1816-4A3D-A8BB-AFC0751747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257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4E80D70-1816-4A3D-A8BB-AFC0751747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634F796-1589-4A4C-A6D9-D204002D33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Please click here to insert headline</a:t>
            </a: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213C6FB3-5E05-49B6-A7D8-C2F8AF470B9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US" noProof="0"/>
              <a:t>Apr 2022</a:t>
            </a:r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0FBD1AF5-57BF-4885-B733-F4D0600926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orporate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303D2CC6-410C-48D5-AD41-D452BFA10A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3300425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drinnen enthält.&#10;&#10;Automatisch generierte Beschreibung">
            <a:extLst>
              <a:ext uri="{FF2B5EF4-FFF2-40B4-BE49-F238E27FC236}">
                <a16:creationId xmlns:a16="http://schemas.microsoft.com/office/drawing/2014/main" id="{9C3F8FA1-FF3A-4311-8AE0-51E34AAE84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969" r="1313"/>
          <a:stretch/>
        </p:blipFill>
        <p:spPr>
          <a:xfrm>
            <a:off x="0" y="-94037"/>
            <a:ext cx="12192000" cy="6952037"/>
          </a:xfrm>
          <a:prstGeom prst="rect">
            <a:avLst/>
          </a:prstGeom>
        </p:spPr>
      </p:pic>
      <p:pic>
        <p:nvPicPr>
          <p:cNvPr id="14" name="Bild" descr="Bild">
            <a:extLst>
              <a:ext uri="{FF2B5EF4-FFF2-40B4-BE49-F238E27FC236}">
                <a16:creationId xmlns:a16="http://schemas.microsoft.com/office/drawing/2014/main" id="{6D2F0204-CEF2-4C13-A678-B3FFDFF7A89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97828" y="550695"/>
            <a:ext cx="1743309" cy="634992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BC2EEC31-3366-408B-B7B8-CA336E0579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968647" y="4900891"/>
            <a:ext cx="8470605" cy="848300"/>
          </a:xfrm>
        </p:spPr>
        <p:txBody>
          <a:bodyPr wrap="square" tIns="36000" bIns="36000" anchor="b">
            <a:spAutoFit/>
          </a:bodyPr>
          <a:lstStyle>
            <a:lvl1pPr algn="l">
              <a:defRPr sz="2800" cap="all" baseline="0">
                <a:solidFill>
                  <a:srgbClr val="0C297A"/>
                </a:solidFill>
                <a:latin typeface="+mj-lt"/>
              </a:defRPr>
            </a:lvl1pPr>
          </a:lstStyle>
          <a:p>
            <a:r>
              <a:rPr lang="en-US" noProof="0"/>
              <a:t>Visit us at </a:t>
            </a:r>
            <a:br>
              <a:rPr lang="en-US" noProof="0"/>
            </a:br>
            <a:r>
              <a:rPr lang="en-US" noProof="0"/>
              <a:t>h2compliance.com</a:t>
            </a:r>
          </a:p>
        </p:txBody>
      </p:sp>
      <p:pic>
        <p:nvPicPr>
          <p:cNvPr id="11" name="Grafik 10" descr="Ein Bild, das Text, Schild, Geschirr enthält.&#10;&#10;Automatisch generierte Beschreibung">
            <a:extLst>
              <a:ext uri="{FF2B5EF4-FFF2-40B4-BE49-F238E27FC236}">
                <a16:creationId xmlns:a16="http://schemas.microsoft.com/office/drawing/2014/main" id="{C240D7E8-AF19-4334-82BB-5E395FCA540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50863" y="566884"/>
            <a:ext cx="2621904" cy="602615"/>
          </a:xfrm>
          <a:prstGeom prst="rect">
            <a:avLst/>
          </a:prstGeom>
        </p:spPr>
      </p:pic>
      <p:pic>
        <p:nvPicPr>
          <p:cNvPr id="8" name="Grafik 7" descr="Internet mit einfarbiger Füllung">
            <a:extLst>
              <a:ext uri="{FF2B5EF4-FFF2-40B4-BE49-F238E27FC236}">
                <a16:creationId xmlns:a16="http://schemas.microsoft.com/office/drawing/2014/main" id="{FEDB4CD5-0CD1-43D1-AE9A-1DBD15BAF2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0863" y="4746800"/>
            <a:ext cx="1176670" cy="1176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95638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drinnen, Container, Abfalleimer enthält.&#10;&#10;Automatisch generierte Beschreibung">
            <a:extLst>
              <a:ext uri="{FF2B5EF4-FFF2-40B4-BE49-F238E27FC236}">
                <a16:creationId xmlns:a16="http://schemas.microsoft.com/office/drawing/2014/main" id="{531C1B21-4E6A-4779-9A80-73B923EA2F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C5E6CE2-E918-44D9-B653-3EE218B389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119369" y="773413"/>
            <a:ext cx="2521769" cy="5796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6F7CCEB3-1764-4EBC-95B2-905C8AB6018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91355" y="6020745"/>
            <a:ext cx="1748968" cy="57960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E9AD5338-8A02-42AD-A23F-E56995F0D4B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968647" y="4900889"/>
            <a:ext cx="8470605" cy="848300"/>
          </a:xfrm>
        </p:spPr>
        <p:txBody>
          <a:bodyPr wrap="square" tIns="36000" bIns="36000" anchor="b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Visit us at </a:t>
            </a:r>
            <a:br>
              <a:rPr lang="en-US" noProof="0"/>
            </a:br>
            <a:r>
              <a:rPr lang="en-US" noProof="0"/>
              <a:t>h2compliance.com</a:t>
            </a:r>
          </a:p>
        </p:txBody>
      </p:sp>
      <p:pic>
        <p:nvPicPr>
          <p:cNvPr id="8" name="Grafik 7" descr="Internet mit einfarbiger Füllung">
            <a:extLst>
              <a:ext uri="{FF2B5EF4-FFF2-40B4-BE49-F238E27FC236}">
                <a16:creationId xmlns:a16="http://schemas.microsoft.com/office/drawing/2014/main" id="{F0B17F87-03F5-4145-B5E7-50A46A78600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0863" y="4746800"/>
            <a:ext cx="1176670" cy="1176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8453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el Slid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asse, Glas, Geschirr enthält.&#10;&#10;Automatisch generierte Beschreibung">
            <a:extLst>
              <a:ext uri="{FF2B5EF4-FFF2-40B4-BE49-F238E27FC236}">
                <a16:creationId xmlns:a16="http://schemas.microsoft.com/office/drawing/2014/main" id="{E9610260-BE21-4F19-8D51-6567E7B258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1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64B2A08-AC7D-4C0E-85B0-75ED13F4963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1975" y="634517"/>
            <a:ext cx="2521769" cy="5796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603443E-6B6D-4765-9E77-C56A0CA32A6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891355" y="6020745"/>
            <a:ext cx="1748968" cy="57960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244017D0-452C-4E63-89D5-4144A4C71E7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1968647" y="4908772"/>
            <a:ext cx="8470605" cy="848300"/>
          </a:xfrm>
        </p:spPr>
        <p:txBody>
          <a:bodyPr wrap="square" tIns="36000" bIns="36000" anchor="b">
            <a:spAutoFit/>
          </a:bodyPr>
          <a:lstStyle>
            <a:lvl1pPr algn="l">
              <a:defRPr sz="2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noProof="0"/>
              <a:t>Visit us at </a:t>
            </a:r>
            <a:br>
              <a:rPr lang="en-US" noProof="0"/>
            </a:br>
            <a:r>
              <a:rPr lang="en-US" noProof="0"/>
              <a:t>h2compliance.com</a:t>
            </a:r>
          </a:p>
        </p:txBody>
      </p:sp>
      <p:pic>
        <p:nvPicPr>
          <p:cNvPr id="8" name="Grafik 7" descr="Internet mit einfarbiger Füllung">
            <a:extLst>
              <a:ext uri="{FF2B5EF4-FFF2-40B4-BE49-F238E27FC236}">
                <a16:creationId xmlns:a16="http://schemas.microsoft.com/office/drawing/2014/main" id="{3DACA705-1E38-4836-8F7A-9B48A6550DB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0863" y="4746800"/>
            <a:ext cx="1176670" cy="1176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04374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Pictur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0BA84829-C692-49DF-92E6-5E943D0588DB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6CAFC21-F56A-4FE1-8FB9-D1C4251D35D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573124" y="549789"/>
            <a:ext cx="418507" cy="429863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D4692AF9-5E15-463D-8564-2D047EE282C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83334" y="955154"/>
            <a:ext cx="332965" cy="342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3A5E0E8-61CE-449A-9928-5A34B1162B1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223306" y="887935"/>
            <a:ext cx="305500" cy="31379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B83294AE-BAAB-4D68-ABA0-B4A2AA0FBC1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875562" y="1201725"/>
            <a:ext cx="319058" cy="327716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86E718F8-5C8A-4BBA-A1F0-D21F3EA97C4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582431" y="2310814"/>
            <a:ext cx="399895" cy="410746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BFED410-D64E-4908-9D50-35E70B04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3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BFED410-D64E-4908-9D50-35E70B04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51CC0C-A64F-4386-9665-973CF03433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2" name="Bild" descr="Bild">
            <a:extLst>
              <a:ext uri="{FF2B5EF4-FFF2-40B4-BE49-F238E27FC236}">
                <a16:creationId xmlns:a16="http://schemas.microsoft.com/office/drawing/2014/main" id="{29E0021C-7FBF-4A80-8903-928DA84B031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945459" y="6070608"/>
            <a:ext cx="1743309" cy="634992"/>
          </a:xfrm>
          <a:prstGeom prst="rect">
            <a:avLst/>
          </a:prstGeom>
          <a:ln w="12700">
            <a:miter lim="400000"/>
          </a:ln>
        </p:spPr>
      </p:pic>
      <p:sp>
        <p:nvSpPr>
          <p:cNvPr id="23" name="Titel 1">
            <a:extLst>
              <a:ext uri="{FF2B5EF4-FFF2-40B4-BE49-F238E27FC236}">
                <a16:creationId xmlns:a16="http://schemas.microsoft.com/office/drawing/2014/main" id="{2DB1E560-5CF0-4158-B55C-9C95FF6E883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2043997" y="3929478"/>
            <a:ext cx="8470605" cy="848300"/>
          </a:xfrm>
        </p:spPr>
        <p:txBody>
          <a:bodyPr wrap="square" tIns="36000" bIns="36000" anchor="b">
            <a:spAutoFit/>
          </a:bodyPr>
          <a:lstStyle>
            <a:lvl1pPr algn="l">
              <a:defRPr lang="de-DE" sz="2800" b="1" kern="1200" cap="all" baseline="0" dirty="0">
                <a:solidFill>
                  <a:srgbClr val="0C297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Visit us at </a:t>
            </a:r>
            <a:br>
              <a:rPr lang="en-US" noProof="0"/>
            </a:br>
            <a:r>
              <a:rPr lang="en-US" noProof="0"/>
              <a:t>h2compliance.com</a:t>
            </a:r>
          </a:p>
        </p:txBody>
      </p:sp>
      <p:pic>
        <p:nvPicPr>
          <p:cNvPr id="19" name="Grafik 18" descr="Ein Bild, das Text, Schild, Geschirr enthält.&#10;&#10;Automatisch generierte Beschreibung">
            <a:extLst>
              <a:ext uri="{FF2B5EF4-FFF2-40B4-BE49-F238E27FC236}">
                <a16:creationId xmlns:a16="http://schemas.microsoft.com/office/drawing/2014/main" id="{096B03C7-EA8A-4A72-8029-5A653389F4DC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160473" y="1492590"/>
            <a:ext cx="2621904" cy="60261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D3081A1-D3B5-40A0-A25D-DEC75F351B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486" t="-3803" r="74506"/>
          <a:stretch/>
        </p:blipFill>
        <p:spPr>
          <a:xfrm>
            <a:off x="11082527" y="1966315"/>
            <a:ext cx="484848" cy="410746"/>
          </a:xfrm>
          <a:prstGeom prst="rect">
            <a:avLst/>
          </a:prstGeom>
        </p:spPr>
      </p:pic>
      <p:pic>
        <p:nvPicPr>
          <p:cNvPr id="18" name="Grafik 17" descr="Internet mit einfarbiger Füllung">
            <a:extLst>
              <a:ext uri="{FF2B5EF4-FFF2-40B4-BE49-F238E27FC236}">
                <a16:creationId xmlns:a16="http://schemas.microsoft.com/office/drawing/2014/main" id="{99F198B9-C395-4FD5-86B1-D4824C7BD354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50863" y="3762120"/>
            <a:ext cx="1176670" cy="1176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90120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Slide Pictur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feld 18">
            <a:extLst>
              <a:ext uri="{FF2B5EF4-FFF2-40B4-BE49-F238E27FC236}">
                <a16:creationId xmlns:a16="http://schemas.microsoft.com/office/drawing/2014/main" id="{B4FF837F-DB01-4587-BBA7-54488EAD9C73}"/>
              </a:ext>
            </a:extLst>
          </p:cNvPr>
          <p:cNvSpPr txBox="1"/>
          <p:nvPr userDrawn="1"/>
        </p:nvSpPr>
        <p:spPr>
          <a:xfrm>
            <a:off x="-8027" y="0"/>
            <a:ext cx="12192000" cy="6858000"/>
          </a:xfrm>
          <a:prstGeom prst="rect">
            <a:avLst/>
          </a:prstGeom>
          <a:solidFill>
            <a:srgbClr val="EE7306"/>
          </a:solidFill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Bef>
                <a:spcPts val="1200"/>
              </a:spcBef>
            </a:pPr>
            <a:endParaRPr lang="de-DE" sz="1600" noProof="0" dirty="0" err="1"/>
          </a:p>
        </p:txBody>
      </p:sp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BFED410-D64E-4908-9D50-35E70B04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69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BFED410-D64E-4908-9D50-35E70B04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51CC0C-A64F-4386-9665-973CF03433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B4F1391-40A9-4C55-82FE-E309E841C1F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50863" y="574923"/>
            <a:ext cx="2215879" cy="734332"/>
          </a:xfrm>
          <a:prstGeom prst="rect">
            <a:avLst/>
          </a:prstGeom>
        </p:spPr>
      </p:pic>
      <p:sp>
        <p:nvSpPr>
          <p:cNvPr id="27" name="Titel 1">
            <a:extLst>
              <a:ext uri="{FF2B5EF4-FFF2-40B4-BE49-F238E27FC236}">
                <a16:creationId xmlns:a16="http://schemas.microsoft.com/office/drawing/2014/main" id="{E14CB5B0-B81C-47C5-81DA-6BB0148877F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3321074"/>
            <a:ext cx="8470605" cy="867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resentation title</a:t>
            </a:r>
            <a:br>
              <a:rPr lang="en-GB" noProof="0"/>
            </a:br>
            <a:r>
              <a:rPr lang="en-GB" noProof="0"/>
              <a:t>This is a second line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FA7E567D-2FEC-4AA6-B983-93ADFD5C7B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4189004"/>
            <a:ext cx="8470605" cy="65844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/>
              <a:t>dd/mm/yy</a:t>
            </a:r>
          </a:p>
          <a:p>
            <a:r>
              <a:rPr lang="en-GB" noProof="0"/>
              <a:t>Name Speaker</a:t>
            </a:r>
          </a:p>
        </p:txBody>
      </p:sp>
      <p:pic>
        <p:nvPicPr>
          <p:cNvPr id="10" name="Grafik 9" descr="Ein Bild, das Text, Gerät, Systemsteuerung enthält.&#10;&#10;Automatisch generierte Beschreibung">
            <a:extLst>
              <a:ext uri="{FF2B5EF4-FFF2-40B4-BE49-F238E27FC236}">
                <a16:creationId xmlns:a16="http://schemas.microsoft.com/office/drawing/2014/main" id="{DAE9D22F-BBD6-42E6-A41C-6E6FEA3645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86"/>
          <a:stretch/>
        </p:blipFill>
        <p:spPr>
          <a:xfrm>
            <a:off x="6203950" y="0"/>
            <a:ext cx="59880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976708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 Pictur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04642399-1829-4EF4-9DAB-D5DE22223367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69D6E31-BA09-40C0-9868-260DBFD1AA2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56598" y="1467028"/>
            <a:ext cx="2737485" cy="90719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B0E4C3C-72F3-4E79-8653-1D1CF2AA1E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631" y="2374218"/>
            <a:ext cx="466627" cy="490531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1F9A6AD7-E6B5-42C9-8038-B71167B161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607" y="182587"/>
            <a:ext cx="491162" cy="51747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E4245C93-23D3-4F55-8CDF-0E15235A69D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6462" y="790157"/>
            <a:ext cx="448252" cy="471214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B0FCECEE-14D6-49B0-ADE6-74029861991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2166" y="436322"/>
            <a:ext cx="585558" cy="61555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EAB5668E-56DD-4DC7-93A6-6333E39608F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285" y="403062"/>
            <a:ext cx="324417" cy="34103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9EDB1D18-B72D-4B53-A305-8F0E0EA6FD2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3026" y="2789371"/>
            <a:ext cx="585558" cy="615553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2EBDEFC8-5E3C-4473-9021-83DC597407DA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7833" y="3284230"/>
            <a:ext cx="409891" cy="430888"/>
          </a:xfrm>
          <a:prstGeom prst="rect">
            <a:avLst/>
          </a:prstGeom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BFED410-D64E-4908-9D50-35E70B04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69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BFED410-D64E-4908-9D50-35E70B04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51CC0C-A64F-4386-9665-973CF03433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9D8E293C-DE26-4C62-B182-34AB259AD4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3712776"/>
            <a:ext cx="8470605" cy="8679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Presentation title</a:t>
            </a:r>
            <a:br>
              <a:rPr lang="en-GB" noProof="0"/>
            </a:br>
            <a:r>
              <a:rPr lang="en-GB" noProof="0"/>
              <a:t>This is a second line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790B53C6-E7A3-4B69-AAFF-6E1FE94601A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4585299"/>
            <a:ext cx="8470605" cy="65844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/>
              <a:t>dd/mm/yy</a:t>
            </a:r>
          </a:p>
          <a:p>
            <a:r>
              <a:rPr lang="en-GB" noProof="0"/>
              <a:t>Name Speaker</a:t>
            </a:r>
          </a:p>
        </p:txBody>
      </p:sp>
    </p:spTree>
    <p:extLst>
      <p:ext uri="{BB962C8B-B14F-4D97-AF65-F5344CB8AC3E}">
        <p14:creationId xmlns:p14="http://schemas.microsoft.com/office/powerpoint/2010/main" val="12230583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591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>
            <a:extLst>
              <a:ext uri="{FF2B5EF4-FFF2-40B4-BE49-F238E27FC236}">
                <a16:creationId xmlns:a16="http://schemas.microsoft.com/office/drawing/2014/main" id="{1BDAC33B-3F9A-4EC2-BD34-D96FF5C865EE}"/>
              </a:ext>
            </a:extLst>
          </p:cNvPr>
          <p:cNvSpPr/>
          <p:nvPr userDrawn="1"/>
        </p:nvSpPr>
        <p:spPr>
          <a:xfrm>
            <a:off x="0" y="0"/>
            <a:ext cx="12192000" cy="6127200"/>
          </a:xfrm>
          <a:prstGeom prst="rect">
            <a:avLst/>
          </a:prstGeom>
          <a:solidFill>
            <a:srgbClr val="4040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de-DE" err="1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 bwMode="gray">
          <a:xfrm>
            <a:off x="550861" y="1341438"/>
            <a:ext cx="11090275" cy="553998"/>
          </a:xfrm>
        </p:spPr>
        <p:txBody>
          <a:bodyPr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de-DE"/>
              <a:t>Content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4967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AECE3913-01F6-4EA4-96B8-F2B5E42D2D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2|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840CA5C9-E214-48DC-9BA9-750377108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4967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2</a:t>
            </a:r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B6D2205A-BCD4-4283-B300-E2EA3602179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3|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F126551-CE7F-48F4-B8E2-93AB04D82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24967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3</a:t>
            </a:r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FCBD804A-8BF4-466A-B044-C4CC8D3170E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3952" y="219455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4|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9138FA3B-B919-41E0-B814-E8DA49840A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902769" y="219455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4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233AAE30-57AC-4F14-A285-21CD7ECEBE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03952" y="292456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5|</a:t>
            </a:r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A880A1FD-C01B-4B33-BC03-32B8BC28A72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902769" y="292456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5</a:t>
            </a:r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17EC8040-43B7-46D6-90E7-8E73A5CFEF3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03952" y="3654579"/>
            <a:ext cx="639763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6|</a:t>
            </a:r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FC9CAC4A-3009-41A3-973B-ED82D1ED05B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02769" y="3654579"/>
            <a:ext cx="4738371" cy="43088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6</a:t>
            </a:r>
          </a:p>
        </p:txBody>
      </p:sp>
      <p:sp>
        <p:nvSpPr>
          <p:cNvPr id="28" name="Datumsplatzhalter 3">
            <a:extLst>
              <a:ext uri="{FF2B5EF4-FFF2-40B4-BE49-F238E27FC236}">
                <a16:creationId xmlns:a16="http://schemas.microsoft.com/office/drawing/2014/main" id="{44146D40-F97B-49CC-8297-DC62269C9C7D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30" name="Fußzeilenplatzhalter 4">
            <a:extLst>
              <a:ext uri="{FF2B5EF4-FFF2-40B4-BE49-F238E27FC236}">
                <a16:creationId xmlns:a16="http://schemas.microsoft.com/office/drawing/2014/main" id="{1A328829-2552-4A72-BE1E-758058B3FE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31" name="Foliennummernplatzhalter 5">
            <a:extLst>
              <a:ext uri="{FF2B5EF4-FFF2-40B4-BE49-F238E27FC236}">
                <a16:creationId xmlns:a16="http://schemas.microsoft.com/office/drawing/2014/main" id="{66F98054-AFE7-4EA4-A651-12E515700E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482824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Green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19925B3-2312-4A3B-BB63-4771370C3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261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219925B3-2312-4A3B-BB63-4771370C3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BFE12CA0-62B3-4186-A81F-B5ECD17E0B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0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BDAC33B-3F9A-4EC2-BD34-D96FF5C865EE}"/>
              </a:ext>
            </a:extLst>
          </p:cNvPr>
          <p:cNvSpPr/>
          <p:nvPr userDrawn="1"/>
        </p:nvSpPr>
        <p:spPr>
          <a:xfrm>
            <a:off x="0" y="0"/>
            <a:ext cx="12192000" cy="6127200"/>
          </a:xfrm>
          <a:prstGeom prst="rect">
            <a:avLst/>
          </a:prstGeom>
          <a:solidFill>
            <a:srgbClr val="40404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de-DE" err="1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7FB68DD-5658-471F-811C-85271B6491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2" y="2034143"/>
            <a:ext cx="1290638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  <a:lvl2pPr marL="0" indent="0">
              <a:buClr>
                <a:schemeClr val="accent1"/>
              </a:buClr>
              <a:buNone/>
              <a:defRPr sz="2800">
                <a:solidFill>
                  <a:schemeClr val="accent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01|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B0067F7A-A9DB-4A8C-A50F-5C15F36F6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6918" y="2034143"/>
            <a:ext cx="7665722" cy="92333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6000"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 sz="280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Content Point 1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14BAB2F3-6D4C-4E47-9DC3-E55F2354B84A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972FC961-9837-44CC-B6AF-3C4FE3291D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684874CA-0F83-4DBD-A118-29271CAA1E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19570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Picture 2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>
            <a:extLst>
              <a:ext uri="{FF2B5EF4-FFF2-40B4-BE49-F238E27FC236}">
                <a16:creationId xmlns:a16="http://schemas.microsoft.com/office/drawing/2014/main" id="{2A649D1A-1DFD-4F02-BD3B-0187C66C872E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3434D0CD-6A6D-4A50-BBCA-597EED7176A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77953" y="185283"/>
            <a:ext cx="504705" cy="51840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D289D5B1-51A5-4203-9D17-588CE6DB045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657095" y="406234"/>
            <a:ext cx="332965" cy="342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1AA60978-0A2B-4ECC-8CE5-618681FD9B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935474" y="439139"/>
            <a:ext cx="599337" cy="615600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CF19E3CF-C040-464F-A402-179600AAF51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428637" y="791081"/>
            <a:ext cx="459141" cy="47160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C697FCA6-D7D2-43B5-BF09-1A7B1F7AA0F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337732" y="2790540"/>
            <a:ext cx="599337" cy="6156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A8080D8F-94E8-4922-8566-C0FA57B4634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996611" y="2375149"/>
            <a:ext cx="476666" cy="4896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484110F1-ED8B-48DB-956A-A1A3A855323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1114757" y="3286036"/>
            <a:ext cx="420587" cy="432000"/>
          </a:xfrm>
          <a:prstGeom prst="rect">
            <a:avLst/>
          </a:prstGeom>
        </p:spPr>
      </p:pic>
      <p:pic>
        <p:nvPicPr>
          <p:cNvPr id="34" name="Bild" descr="Bild">
            <a:extLst>
              <a:ext uri="{FF2B5EF4-FFF2-40B4-BE49-F238E27FC236}">
                <a16:creationId xmlns:a16="http://schemas.microsoft.com/office/drawing/2014/main" id="{47016C33-5AED-47DF-923E-88BE4B0BB8C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133770" y="1315919"/>
            <a:ext cx="2945049" cy="1072720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BFED410-D64E-4908-9D50-35E70B04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69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BFED410-D64E-4908-9D50-35E70B04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B51CC0C-A64F-4386-9665-973CF034331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err="1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id="{10319840-E737-418C-8A9F-4DE0A350C39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0863" y="3712776"/>
            <a:ext cx="8470605" cy="867930"/>
          </a:xfrm>
        </p:spPr>
        <p:txBody>
          <a:bodyPr/>
          <a:lstStyle>
            <a:lvl1pPr>
              <a:defRPr>
                <a:solidFill>
                  <a:srgbClr val="404040"/>
                </a:solidFill>
              </a:defRPr>
            </a:lvl1pPr>
          </a:lstStyle>
          <a:p>
            <a:r>
              <a:rPr lang="en-GB" noProof="0"/>
              <a:t>Presentation title</a:t>
            </a:r>
            <a:br>
              <a:rPr lang="en-GB" noProof="0"/>
            </a:br>
            <a:r>
              <a:rPr lang="en-GB" noProof="0"/>
              <a:t>This is a second line</a:t>
            </a:r>
          </a:p>
        </p:txBody>
      </p:sp>
      <p:sp>
        <p:nvSpPr>
          <p:cNvPr id="19" name="Untertitel 2">
            <a:extLst>
              <a:ext uri="{FF2B5EF4-FFF2-40B4-BE49-F238E27FC236}">
                <a16:creationId xmlns:a16="http://schemas.microsoft.com/office/drawing/2014/main" id="{3DC8C519-9572-4F0C-83E8-F51CF89591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4585299"/>
            <a:ext cx="8470605" cy="658446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1800" kern="1200" baseline="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noProof="0"/>
              <a:t>dd/mm/yy</a:t>
            </a:r>
          </a:p>
          <a:p>
            <a:r>
              <a:rPr lang="en-GB" noProof="0"/>
              <a:t>Name Speaker</a:t>
            </a:r>
          </a:p>
        </p:txBody>
      </p:sp>
    </p:spTree>
    <p:extLst>
      <p:ext uri="{BB962C8B-B14F-4D97-AF65-F5344CB8AC3E}">
        <p14:creationId xmlns:p14="http://schemas.microsoft.com/office/powerpoint/2010/main" val="34054172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51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tags" Target="../tags/tag50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oleObject" Target="../embeddings/oleObject21.bin"/><Relationship Id="rId30" Type="http://schemas.openxmlformats.org/officeDocument/2006/relationships/image" Target="../media/image2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ED98A58-B356-488B-A6D7-D4BE89AFF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976748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0" imgW="344" imgH="345" progId="TCLayout.ActiveDocument.1">
                  <p:embed/>
                </p:oleObj>
              </mc:Choice>
              <mc:Fallback>
                <p:oleObj name="think-cell Folie" r:id="rId30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ED98A58-B356-488B-A6D7-D4BE89AFF2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D4D02BB1-F52F-4994-8E24-27C7C3EDF8E2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1" y="455205"/>
            <a:ext cx="11090275" cy="360099"/>
          </a:xfrm>
          <a:prstGeom prst="rect">
            <a:avLst/>
          </a:prstGeom>
        </p:spPr>
        <p:txBody>
          <a:bodyPr vert="horz" wrap="square" lIns="0" tIns="0" rIns="91440" bIns="0" rtlCol="0" anchor="t" anchorCtr="0">
            <a:noAutofit/>
          </a:bodyPr>
          <a:lstStyle/>
          <a:p>
            <a:r>
              <a:rPr lang="en-GB" noProof="0"/>
              <a:t>Please click here to insert head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2" y="1341438"/>
            <a:ext cx="11090276" cy="446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Please click here to edit master forma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en-GB" noProof="0"/>
              <a:t>Apr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orporate Present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  <p:pic>
        <p:nvPicPr>
          <p:cNvPr id="13" name="Bild" descr="Bild">
            <a:extLst>
              <a:ext uri="{FF2B5EF4-FFF2-40B4-BE49-F238E27FC236}">
                <a16:creationId xmlns:a16="http://schemas.microsoft.com/office/drawing/2014/main" id="{FB8F9EA3-5401-4454-A1D7-EA251B56A310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10620395" y="6323605"/>
            <a:ext cx="1061241" cy="3865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54431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  <p:sldLayoutId id="2147483772" r:id="rId18"/>
    <p:sldLayoutId id="2147483773" r:id="rId19"/>
    <p:sldLayoutId id="2147483774" r:id="rId20"/>
    <p:sldLayoutId id="2147483775" r:id="rId21"/>
    <p:sldLayoutId id="2147483776" r:id="rId22"/>
    <p:sldLayoutId id="2147483777" r:id="rId23"/>
    <p:sldLayoutId id="2147483778" r:id="rId24"/>
    <p:sldLayoutId id="2147483779" r:id="rId25"/>
    <p:sldLayoutId id="2147483780" r:id="rId26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cap="none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9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ts val="1900"/>
        </a:lnSpc>
        <a:spcBef>
          <a:spcPts val="1200"/>
        </a:spcBef>
        <a:buClrTx/>
        <a:buSzPct val="75000"/>
        <a:buFont typeface="Wingdings" panose="05000000000000000000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268288" algn="l" defTabSz="914400" rtl="0" eaLnBrk="1" latinLnBrk="0" hangingPunct="1">
        <a:lnSpc>
          <a:spcPts val="1900"/>
        </a:lnSpc>
        <a:spcBef>
          <a:spcPts val="600"/>
        </a:spcBef>
        <a:buClrTx/>
        <a:buSzPct val="100000"/>
        <a:buFont typeface="Symbol" panose="05050102010706020507" pitchFamily="18" charset="2"/>
        <a:buChar char="-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801688" indent="-266700" algn="l" defTabSz="914400" rtl="0" eaLnBrk="1" latinLnBrk="0" hangingPunct="1">
        <a:lnSpc>
          <a:spcPts val="1900"/>
        </a:lnSpc>
        <a:spcBef>
          <a:spcPts val="600"/>
        </a:spcBef>
        <a:buClrTx/>
        <a:buSzPct val="7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451712" indent="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SzPct val="75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4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845">
          <p15:clr>
            <a:srgbClr val="F26B43"/>
          </p15:clr>
        </p15:guide>
        <p15:guide id="5" orient="horz" pos="278">
          <p15:clr>
            <a:srgbClr val="F26B43"/>
          </p15:clr>
        </p15:guide>
        <p15:guide id="8" pos="3749">
          <p15:clr>
            <a:srgbClr val="F26B43"/>
          </p15:clr>
        </p15:guide>
        <p15:guide id="9" pos="39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ED98A58-B356-488B-A6D7-D4BE89AFF2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976748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344" imgH="345" progId="TCLayout.ActiveDocument.1">
                  <p:embed/>
                </p:oleObj>
              </mc:Choice>
              <mc:Fallback>
                <p:oleObj name="think-cell Folie" r:id="rId27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ED98A58-B356-488B-A6D7-D4BE89AFF2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D4D02BB1-F52F-4994-8E24-27C7C3EDF8E2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400" b="1" i="0" baseline="0" err="1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0861" y="455205"/>
            <a:ext cx="11090275" cy="360099"/>
          </a:xfrm>
          <a:prstGeom prst="rect">
            <a:avLst/>
          </a:prstGeom>
        </p:spPr>
        <p:txBody>
          <a:bodyPr vert="horz" wrap="square" lIns="0" tIns="0" rIns="91440" bIns="0" rtlCol="0" anchor="t" anchorCtr="0">
            <a:noAutofit/>
          </a:bodyPr>
          <a:lstStyle/>
          <a:p>
            <a:r>
              <a:rPr lang="de-DE" noProof="0"/>
              <a:t>Please click here to insert headlin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0862" y="1341438"/>
            <a:ext cx="11090276" cy="446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err="1"/>
              <a:t>Please</a:t>
            </a:r>
            <a:r>
              <a:rPr lang="de-DE" noProof="0"/>
              <a:t> </a:t>
            </a:r>
            <a:r>
              <a:rPr lang="de-DE" noProof="0" err="1"/>
              <a:t>click</a:t>
            </a:r>
            <a:r>
              <a:rPr lang="de-DE" noProof="0"/>
              <a:t> </a:t>
            </a:r>
            <a:r>
              <a:rPr lang="de-DE" noProof="0" err="1"/>
              <a:t>here</a:t>
            </a:r>
            <a:r>
              <a:rPr lang="de-DE" noProof="0"/>
              <a:t> </a:t>
            </a:r>
            <a:r>
              <a:rPr lang="de-DE" noProof="0" err="1"/>
              <a:t>to</a:t>
            </a:r>
            <a:r>
              <a:rPr lang="de-DE" noProof="0"/>
              <a:t> </a:t>
            </a:r>
            <a:r>
              <a:rPr lang="de-DE" noProof="0" err="1"/>
              <a:t>edit</a:t>
            </a:r>
            <a:r>
              <a:rPr lang="de-DE" noProof="0"/>
              <a:t> </a:t>
            </a:r>
            <a:r>
              <a:rPr lang="de-DE" noProof="0" err="1"/>
              <a:t>master</a:t>
            </a:r>
            <a:r>
              <a:rPr lang="de-DE" noProof="0"/>
              <a:t> </a:t>
            </a:r>
            <a:r>
              <a:rPr lang="de-DE" noProof="0" err="1"/>
              <a:t>format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60911" y="6571077"/>
            <a:ext cx="88385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>
                <a:solidFill>
                  <a:schemeClr val="tx2"/>
                </a:solidFill>
                <a:latin typeface="+mj-lt"/>
              </a:defRPr>
            </a:lvl1pPr>
          </a:lstStyle>
          <a:p>
            <a:pPr algn="ctr"/>
            <a:r>
              <a:rPr lang="de-DE"/>
              <a:t>Apr 2022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905693" y="6571077"/>
            <a:ext cx="6816947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1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Corporate </a:t>
            </a:r>
            <a:r>
              <a:rPr lang="de-DE" err="1"/>
              <a:t>Presentation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550863" y="6571077"/>
            <a:ext cx="408781" cy="1692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de-DE" sz="110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P. </a:t>
            </a:r>
            <a:fld id="{B3435E19-0BE7-4C14-BA7B-78F7BAC2F728}" type="slidenum">
              <a:rPr smtClean="0"/>
              <a:pPr/>
              <a:t>‹#›</a:t>
            </a:fld>
            <a:endParaRPr/>
          </a:p>
        </p:txBody>
      </p:sp>
      <p:pic>
        <p:nvPicPr>
          <p:cNvPr id="13" name="Bild" descr="Bild">
            <a:extLst>
              <a:ext uri="{FF2B5EF4-FFF2-40B4-BE49-F238E27FC236}">
                <a16:creationId xmlns:a16="http://schemas.microsoft.com/office/drawing/2014/main" id="{FB8F9EA3-5401-4454-A1D7-EA251B56A310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10620395" y="6323605"/>
            <a:ext cx="1061241" cy="386552"/>
          </a:xfrm>
          <a:prstGeom prst="rect">
            <a:avLst/>
          </a:prstGeom>
          <a:ln w="12700">
            <a:miter lim="400000"/>
          </a:ln>
        </p:spPr>
      </p:pic>
      <p:pic>
        <p:nvPicPr>
          <p:cNvPr id="12" name="Grafik 11" descr="Ein Bild, das Text, Schild, Geschirr enthält.&#10;&#10;Automatisch generierte Beschreibung">
            <a:extLst>
              <a:ext uri="{FF2B5EF4-FFF2-40B4-BE49-F238E27FC236}">
                <a16:creationId xmlns:a16="http://schemas.microsoft.com/office/drawing/2014/main" id="{27E11F40-E28B-4C41-BC52-6EEDA87348DC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099695" y="448615"/>
            <a:ext cx="1559024" cy="358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323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  <p:sldLayoutId id="2147483800" r:id="rId19"/>
    <p:sldLayoutId id="2147483801" r:id="rId20"/>
    <p:sldLayoutId id="2147483802" r:id="rId21"/>
    <p:sldLayoutId id="2147483803" r:id="rId22"/>
    <p:sldLayoutId id="2147483804" r:id="rId23"/>
  </p:sldLayoutIdLst>
  <p:transition>
    <p:fade/>
  </p:transition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 cap="none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900"/>
        </a:lnSpc>
        <a:spcBef>
          <a:spcPts val="12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ts val="1900"/>
        </a:lnSpc>
        <a:spcBef>
          <a:spcPts val="1200"/>
        </a:spcBef>
        <a:buClrTx/>
        <a:buSzPct val="75000"/>
        <a:buFont typeface="Wingdings" panose="05000000000000000000" pitchFamily="2" charset="2"/>
        <a:buChar char="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268288" algn="l" defTabSz="914400" rtl="0" eaLnBrk="1" latinLnBrk="0" hangingPunct="1">
        <a:lnSpc>
          <a:spcPts val="1900"/>
        </a:lnSpc>
        <a:spcBef>
          <a:spcPts val="600"/>
        </a:spcBef>
        <a:buClrTx/>
        <a:buSzPct val="100000"/>
        <a:buFont typeface="Symbol" panose="05050102010706020507" pitchFamily="18" charset="2"/>
        <a:buChar char="-"/>
        <a:defRPr lang="de-DE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801688" indent="-266700" algn="l" defTabSz="914400" rtl="0" eaLnBrk="1" latinLnBrk="0" hangingPunct="1">
        <a:lnSpc>
          <a:spcPts val="1900"/>
        </a:lnSpc>
        <a:spcBef>
          <a:spcPts val="600"/>
        </a:spcBef>
        <a:buClrTx/>
        <a:buSzPct val="75000"/>
        <a:buFont typeface="Wingdings" panose="05000000000000000000" pitchFamily="2" charset="2"/>
        <a:buChar char="n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451712" indent="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SzPct val="75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4">
          <p15:clr>
            <a:srgbClr val="F26B43"/>
          </p15:clr>
        </p15:guide>
        <p15:guide id="2" pos="347">
          <p15:clr>
            <a:srgbClr val="F26B43"/>
          </p15:clr>
        </p15:guide>
        <p15:guide id="3" pos="7333">
          <p15:clr>
            <a:srgbClr val="F26B43"/>
          </p15:clr>
        </p15:guide>
        <p15:guide id="4" orient="horz" pos="845">
          <p15:clr>
            <a:srgbClr val="F26B43"/>
          </p15:clr>
        </p15:guide>
        <p15:guide id="5" orient="horz" pos="278">
          <p15:clr>
            <a:srgbClr val="F26B43"/>
          </p15:clr>
        </p15:guide>
        <p15:guide id="8" pos="3749">
          <p15:clr>
            <a:srgbClr val="F26B43"/>
          </p15:clr>
        </p15:guide>
        <p15:guide id="9" pos="39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h2compliance.com/wp-content/uploads/2023/01/Global-ICT-Takeback.pdf" TargetMode="External"/><Relationship Id="rId1" Type="http://schemas.openxmlformats.org/officeDocument/2006/relationships/slideLayout" Target="../slideLayouts/slideLayout3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ítulo 1">
            <a:extLst>
              <a:ext uri="{FF2B5EF4-FFF2-40B4-BE49-F238E27FC236}">
                <a16:creationId xmlns:a16="http://schemas.microsoft.com/office/drawing/2014/main" id="{0F62E15D-241D-F6FE-4E48-C306078B4E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689" y="4394353"/>
            <a:ext cx="8470605" cy="460502"/>
          </a:xfrm>
        </p:spPr>
        <p:txBody>
          <a:bodyPr/>
          <a:lstStyle/>
          <a:p>
            <a:r>
              <a:rPr lang="en-US" sz="2800" dirty="0">
                <a:solidFill>
                  <a:srgbClr val="002060"/>
                </a:solidFill>
              </a:rPr>
              <a:t>Circular Economy Engineering Case Study</a:t>
            </a:r>
            <a:endParaRPr lang="en-GB" dirty="0"/>
          </a:p>
        </p:txBody>
      </p:sp>
      <p:sp>
        <p:nvSpPr>
          <p:cNvPr id="9" name="Subtítulo 2">
            <a:extLst>
              <a:ext uri="{FF2B5EF4-FFF2-40B4-BE49-F238E27FC236}">
                <a16:creationId xmlns:a16="http://schemas.microsoft.com/office/drawing/2014/main" id="{82F51310-50F6-91EF-A19C-EF4751F79D0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689" y="4931297"/>
            <a:ext cx="11177111" cy="365548"/>
          </a:xfrm>
        </p:spPr>
        <p:txBody>
          <a:bodyPr>
            <a:normAutofit/>
          </a:bodyPr>
          <a:lstStyle/>
          <a:p>
            <a:r>
              <a:rPr lang="en-US" i="1" dirty="0"/>
              <a:t>Recycling laboratory &amp; medical equipment for a surplus asset management company</a:t>
            </a:r>
          </a:p>
        </p:txBody>
      </p:sp>
    </p:spTree>
    <p:extLst>
      <p:ext uri="{BB962C8B-B14F-4D97-AF65-F5344CB8AC3E}">
        <p14:creationId xmlns:p14="http://schemas.microsoft.com/office/powerpoint/2010/main" val="52639136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4">
            <a:extLst>
              <a:ext uri="{FF2B5EF4-FFF2-40B4-BE49-F238E27FC236}">
                <a16:creationId xmlns:a16="http://schemas.microsoft.com/office/drawing/2014/main" id="{B50C646C-40FB-EC90-92FB-47263F0D89EE}"/>
              </a:ext>
            </a:extLst>
          </p:cNvPr>
          <p:cNvSpPr txBox="1">
            <a:spLocks/>
          </p:cNvSpPr>
          <p:nvPr/>
        </p:nvSpPr>
        <p:spPr>
          <a:xfrm>
            <a:off x="440614" y="457823"/>
            <a:ext cx="11090275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cap="none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Laboratory &amp; Medical Equipment Recycling</a:t>
            </a:r>
            <a:endParaRPr lang="en-GB" dirty="0"/>
          </a:p>
        </p:txBody>
      </p:sp>
      <p:sp>
        <p:nvSpPr>
          <p:cNvPr id="13" name="Retângulo 5">
            <a:extLst>
              <a:ext uri="{FF2B5EF4-FFF2-40B4-BE49-F238E27FC236}">
                <a16:creationId xmlns:a16="http://schemas.microsoft.com/office/drawing/2014/main" id="{BAA557BC-96C5-4F9C-FFC2-5D4E798D770C}"/>
              </a:ext>
            </a:extLst>
          </p:cNvPr>
          <p:cNvSpPr/>
          <p:nvPr/>
        </p:nvSpPr>
        <p:spPr>
          <a:xfrm>
            <a:off x="543180" y="1230324"/>
            <a:ext cx="5164603" cy="512367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>
                    <a:lumMod val="50000"/>
                  </a:schemeClr>
                </a:solidFill>
              </a:rPr>
              <a:t>Background and Challenge </a:t>
            </a:r>
          </a:p>
        </p:txBody>
      </p:sp>
      <p:sp>
        <p:nvSpPr>
          <p:cNvPr id="14" name="Retângulo 18">
            <a:extLst>
              <a:ext uri="{FF2B5EF4-FFF2-40B4-BE49-F238E27FC236}">
                <a16:creationId xmlns:a16="http://schemas.microsoft.com/office/drawing/2014/main" id="{94000D1F-51E6-A9AF-2B40-4B95290F77B4}"/>
              </a:ext>
            </a:extLst>
          </p:cNvPr>
          <p:cNvSpPr/>
          <p:nvPr/>
        </p:nvSpPr>
        <p:spPr>
          <a:xfrm>
            <a:off x="543180" y="1812448"/>
            <a:ext cx="5164602" cy="1527929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>
                <a:solidFill>
                  <a:schemeClr val="bg1">
                    <a:lumMod val="50000"/>
                  </a:schemeClr>
                </a:solidFill>
              </a:rPr>
              <a:t>The customer wanted to recycler surplus laboratory and medical equipment for its clients throughout the United States and Canada. </a:t>
            </a:r>
          </a:p>
          <a:p>
            <a:pPr algn="ctr"/>
            <a:r>
              <a:rPr lang="en-GB" sz="1100" dirty="0">
                <a:solidFill>
                  <a:schemeClr val="bg1">
                    <a:lumMod val="50000"/>
                  </a:schemeClr>
                </a:solidFill>
              </a:rPr>
              <a:t>Due to the unique characteristics of the devices (size, weight, etc.) and the large client service area, the customer requested H2 Compliance to design a solution that could be easily scalable and flexible.</a:t>
            </a:r>
          </a:p>
        </p:txBody>
      </p:sp>
      <p:sp>
        <p:nvSpPr>
          <p:cNvPr id="15" name="Retângulo 23">
            <a:extLst>
              <a:ext uri="{FF2B5EF4-FFF2-40B4-BE49-F238E27FC236}">
                <a16:creationId xmlns:a16="http://schemas.microsoft.com/office/drawing/2014/main" id="{295B9B86-FDE7-EAA5-E82E-C265F15336EF}"/>
              </a:ext>
            </a:extLst>
          </p:cNvPr>
          <p:cNvSpPr/>
          <p:nvPr/>
        </p:nvSpPr>
        <p:spPr>
          <a:xfrm>
            <a:off x="550861" y="3443917"/>
            <a:ext cx="5164601" cy="512367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>
                    <a:lumMod val="50000"/>
                  </a:schemeClr>
                </a:solidFill>
              </a:rPr>
              <a:t>Customer Profile</a:t>
            </a:r>
          </a:p>
        </p:txBody>
      </p:sp>
      <p:sp>
        <p:nvSpPr>
          <p:cNvPr id="16" name="Retângulo 24">
            <a:extLst>
              <a:ext uri="{FF2B5EF4-FFF2-40B4-BE49-F238E27FC236}">
                <a16:creationId xmlns:a16="http://schemas.microsoft.com/office/drawing/2014/main" id="{42F63BC9-861B-FFFA-7E62-2937BE248ABB}"/>
              </a:ext>
            </a:extLst>
          </p:cNvPr>
          <p:cNvSpPr/>
          <p:nvPr/>
        </p:nvSpPr>
        <p:spPr>
          <a:xfrm>
            <a:off x="550861" y="4021638"/>
            <a:ext cx="5164601" cy="494372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Surplus asset management company for laboratory and medical equipment owners.</a:t>
            </a:r>
          </a:p>
        </p:txBody>
      </p:sp>
      <p:sp>
        <p:nvSpPr>
          <p:cNvPr id="18" name="Retângulo 21">
            <a:extLst>
              <a:ext uri="{FF2B5EF4-FFF2-40B4-BE49-F238E27FC236}">
                <a16:creationId xmlns:a16="http://schemas.microsoft.com/office/drawing/2014/main" id="{CB8581B2-280A-D541-F076-E657A6922C3D}"/>
              </a:ext>
            </a:extLst>
          </p:cNvPr>
          <p:cNvSpPr/>
          <p:nvPr/>
        </p:nvSpPr>
        <p:spPr>
          <a:xfrm>
            <a:off x="543180" y="5203059"/>
            <a:ext cx="5168242" cy="1046913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Set up a program to package, transport, and recycle end-of-life laboratory and medical equipment for client customers throughout the United States and Canada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Smooth pick-up proc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Short lead-time (from pick-up requests to the actual request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Single point of contact for North American takeback operations.</a:t>
            </a:r>
          </a:p>
        </p:txBody>
      </p:sp>
      <p:sp>
        <p:nvSpPr>
          <p:cNvPr id="19" name="Retângulo 7">
            <a:extLst>
              <a:ext uri="{FF2B5EF4-FFF2-40B4-BE49-F238E27FC236}">
                <a16:creationId xmlns:a16="http://schemas.microsoft.com/office/drawing/2014/main" id="{EFB63CA5-1B86-2DFF-1DEA-A65D20D384EB}"/>
              </a:ext>
            </a:extLst>
          </p:cNvPr>
          <p:cNvSpPr/>
          <p:nvPr/>
        </p:nvSpPr>
        <p:spPr>
          <a:xfrm>
            <a:off x="5823284" y="1230323"/>
            <a:ext cx="5817853" cy="4437420"/>
          </a:xfrm>
          <a:prstGeom prst="rect">
            <a:avLst/>
          </a:prstGeom>
          <a:solidFill>
            <a:schemeClr val="bg1">
              <a:lumMod val="50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/>
            <a:r>
              <a:rPr lang="en-US" dirty="0"/>
              <a:t>The Solution At a Glance…</a:t>
            </a:r>
          </a:p>
          <a:p>
            <a:pPr algn="ctr">
              <a:lnSpc>
                <a:spcPct val="150000"/>
              </a:lnSpc>
              <a:tabLst>
                <a:tab pos="3857625" algn="l"/>
              </a:tabLst>
            </a:pPr>
            <a:endParaRPr lang="en-US" sz="1100" dirty="0"/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100" dirty="0"/>
              <a:t>It starts with a collection request done by the customer directly to the single point of contact.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100" dirty="0"/>
              <a:t>The service consists of collection carried out in direct shipment from the collection point to the recycling facilities. The recycling facilities are selected from the activated and qualified end-of-life H2 Compliance and according to the proximity principle.</a:t>
            </a:r>
            <a:endParaRPr lang="en-US" sz="1100" dirty="0"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100" dirty="0"/>
              <a:t>The equipment is properly stacked in standard-sized pallets and packed in such a way as to prevent breakage, damage, contamination, and harmful effects on human health or the environment during transport. On the agreed date, the material is loaded onto the truck.</a:t>
            </a:r>
            <a:endParaRPr lang="en-US" sz="1100" dirty="0">
              <a:cs typeface="Calibri"/>
            </a:endParaRP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100" dirty="0"/>
              <a:t>Upon the arrival at the recycling facility, the unloading, weighing, and recycling process is executed.</a:t>
            </a:r>
          </a:p>
          <a:p>
            <a:pPr marL="171450" indent="-171450" algn="ctr">
              <a:buFont typeface="Arial" panose="020B0604020202020204" pitchFamily="34" charset="0"/>
              <a:buChar char="•"/>
            </a:pPr>
            <a:endParaRPr lang="en-US" sz="1100" dirty="0"/>
          </a:p>
          <a:p>
            <a:pPr marL="171450" indent="-171450" algn="ctr">
              <a:buFont typeface="Arial" panose="020B0604020202020204" pitchFamily="34" charset="0"/>
              <a:buChar char="•"/>
            </a:pPr>
            <a:r>
              <a:rPr lang="en-US" sz="1100" dirty="0"/>
              <a:t>Certificate of recycling and serial number report provided to customer after completion of project.</a:t>
            </a:r>
            <a:endParaRPr lang="en-GB" sz="1200" dirty="0"/>
          </a:p>
        </p:txBody>
      </p:sp>
      <p:sp>
        <p:nvSpPr>
          <p:cNvPr id="20" name="Retângulo 14">
            <a:extLst>
              <a:ext uri="{FF2B5EF4-FFF2-40B4-BE49-F238E27FC236}">
                <a16:creationId xmlns:a16="http://schemas.microsoft.com/office/drawing/2014/main" id="{D5DF9448-DB1F-92AE-BAB4-110310F5E888}"/>
              </a:ext>
            </a:extLst>
          </p:cNvPr>
          <p:cNvSpPr/>
          <p:nvPr/>
        </p:nvSpPr>
        <p:spPr>
          <a:xfrm>
            <a:off x="5823283" y="5713264"/>
            <a:ext cx="5817853" cy="536708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GB" sz="1100" i="1" dirty="0"/>
              <a:t>For more information about the product please access our product sheet available at: </a:t>
            </a:r>
          </a:p>
          <a:p>
            <a:pPr algn="ctr"/>
            <a:r>
              <a:rPr lang="en-GB" sz="1100" i="1" u="sng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boratory &amp; Medical Equipment Recycling</a:t>
            </a:r>
            <a:endParaRPr lang="en-GB" sz="1100" i="1" u="sng" dirty="0">
              <a:solidFill>
                <a:schemeClr val="bg1"/>
              </a:solidFill>
            </a:endParaRPr>
          </a:p>
          <a:p>
            <a:pPr algn="ctr"/>
            <a:endParaRPr lang="en-US" sz="1100" baseline="30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" name="Retângulo 20">
            <a:extLst>
              <a:ext uri="{FF2B5EF4-FFF2-40B4-BE49-F238E27FC236}">
                <a16:creationId xmlns:a16="http://schemas.microsoft.com/office/drawing/2014/main" id="{5ECE1F84-D388-3B34-7A34-E78527B95E98}"/>
              </a:ext>
            </a:extLst>
          </p:cNvPr>
          <p:cNvSpPr/>
          <p:nvPr/>
        </p:nvSpPr>
        <p:spPr>
          <a:xfrm>
            <a:off x="550861" y="4643333"/>
            <a:ext cx="5156921" cy="512367"/>
          </a:xfrm>
          <a:prstGeom prst="rect">
            <a:avLst/>
          </a:prstGeom>
          <a:solidFill>
            <a:schemeClr val="bg1">
              <a:lumMod val="9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>
                    <a:lumMod val="50000"/>
                  </a:schemeClr>
                </a:solidFill>
              </a:rPr>
              <a:t>Objectives</a:t>
            </a:r>
          </a:p>
        </p:txBody>
      </p:sp>
    </p:spTree>
    <p:extLst>
      <p:ext uri="{BB962C8B-B14F-4D97-AF65-F5344CB8AC3E}">
        <p14:creationId xmlns:p14="http://schemas.microsoft.com/office/powerpoint/2010/main" val="261684673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4">
            <a:extLst>
              <a:ext uri="{FF2B5EF4-FFF2-40B4-BE49-F238E27FC236}">
                <a16:creationId xmlns:a16="http://schemas.microsoft.com/office/drawing/2014/main" id="{6F09F277-ABE8-BE35-B34E-118533B96984}"/>
              </a:ext>
            </a:extLst>
          </p:cNvPr>
          <p:cNvSpPr txBox="1">
            <a:spLocks/>
          </p:cNvSpPr>
          <p:nvPr/>
        </p:nvSpPr>
        <p:spPr>
          <a:xfrm>
            <a:off x="447099" y="463638"/>
            <a:ext cx="11090275" cy="36009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cap="none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Laboratory &amp; Medical Equipment Recycling</a:t>
            </a:r>
          </a:p>
          <a:p>
            <a:br>
              <a:rPr lang="en-US" dirty="0"/>
            </a:br>
            <a:endParaRPr lang="en-GB" dirty="0"/>
          </a:p>
        </p:txBody>
      </p:sp>
      <p:sp>
        <p:nvSpPr>
          <p:cNvPr id="14" name="Retângulo 22">
            <a:extLst>
              <a:ext uri="{FF2B5EF4-FFF2-40B4-BE49-F238E27FC236}">
                <a16:creationId xmlns:a16="http://schemas.microsoft.com/office/drawing/2014/main" id="{7EB94090-ACEB-ADA2-EBDE-5788B65764EA}"/>
              </a:ext>
            </a:extLst>
          </p:cNvPr>
          <p:cNvSpPr/>
          <p:nvPr/>
        </p:nvSpPr>
        <p:spPr>
          <a:xfrm>
            <a:off x="6726675" y="1531208"/>
            <a:ext cx="4926010" cy="512367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Key Facts/Results</a:t>
            </a:r>
          </a:p>
        </p:txBody>
      </p:sp>
      <p:sp>
        <p:nvSpPr>
          <p:cNvPr id="15" name="Retângulo 28">
            <a:extLst>
              <a:ext uri="{FF2B5EF4-FFF2-40B4-BE49-F238E27FC236}">
                <a16:creationId xmlns:a16="http://schemas.microsoft.com/office/drawing/2014/main" id="{2C7A6B3B-9849-5476-0149-B87ED6929700}"/>
              </a:ext>
            </a:extLst>
          </p:cNvPr>
          <p:cNvSpPr/>
          <p:nvPr/>
        </p:nvSpPr>
        <p:spPr>
          <a:xfrm>
            <a:off x="6726675" y="2150158"/>
            <a:ext cx="738377" cy="63492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1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6" name="Retângulo 28">
            <a:extLst>
              <a:ext uri="{FF2B5EF4-FFF2-40B4-BE49-F238E27FC236}">
                <a16:creationId xmlns:a16="http://schemas.microsoft.com/office/drawing/2014/main" id="{7B6DE355-DE9D-8FF9-7DAC-399C68CA6B2D}"/>
              </a:ext>
            </a:extLst>
          </p:cNvPr>
          <p:cNvSpPr/>
          <p:nvPr/>
        </p:nvSpPr>
        <p:spPr>
          <a:xfrm>
            <a:off x="6726675" y="2898576"/>
            <a:ext cx="738377" cy="738753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2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7" name="Retângulo 28">
            <a:extLst>
              <a:ext uri="{FF2B5EF4-FFF2-40B4-BE49-F238E27FC236}">
                <a16:creationId xmlns:a16="http://schemas.microsoft.com/office/drawing/2014/main" id="{A6B06778-3115-FC7D-4ECC-DC21068EE576}"/>
              </a:ext>
            </a:extLst>
          </p:cNvPr>
          <p:cNvSpPr/>
          <p:nvPr/>
        </p:nvSpPr>
        <p:spPr>
          <a:xfrm>
            <a:off x="6726675" y="3750824"/>
            <a:ext cx="738377" cy="63492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3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8" name="Retângulo 28">
            <a:extLst>
              <a:ext uri="{FF2B5EF4-FFF2-40B4-BE49-F238E27FC236}">
                <a16:creationId xmlns:a16="http://schemas.microsoft.com/office/drawing/2014/main" id="{29CBDF7A-A21C-115E-E473-E840137F8BB6}"/>
              </a:ext>
            </a:extLst>
          </p:cNvPr>
          <p:cNvSpPr/>
          <p:nvPr/>
        </p:nvSpPr>
        <p:spPr>
          <a:xfrm>
            <a:off x="6726675" y="4506154"/>
            <a:ext cx="738377" cy="634921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04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9" name="Retângulo 8">
            <a:extLst>
              <a:ext uri="{FF2B5EF4-FFF2-40B4-BE49-F238E27FC236}">
                <a16:creationId xmlns:a16="http://schemas.microsoft.com/office/drawing/2014/main" id="{3EEB994E-71DD-1B03-5A65-6894361E0A03}"/>
              </a:ext>
            </a:extLst>
          </p:cNvPr>
          <p:cNvSpPr/>
          <p:nvPr/>
        </p:nvSpPr>
        <p:spPr>
          <a:xfrm>
            <a:off x="7465051" y="2157072"/>
            <a:ext cx="4187633" cy="62800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Lead time (from pick-ups request to actual pick-up) on average of 3 days and no more that 5 days.</a:t>
            </a:r>
            <a:endParaRPr lang="en-GB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Retângulo 8">
            <a:extLst>
              <a:ext uri="{FF2B5EF4-FFF2-40B4-BE49-F238E27FC236}">
                <a16:creationId xmlns:a16="http://schemas.microsoft.com/office/drawing/2014/main" id="{742E1002-33E5-86B2-70DB-A884EFF1D31B}"/>
              </a:ext>
            </a:extLst>
          </p:cNvPr>
          <p:cNvSpPr/>
          <p:nvPr/>
        </p:nvSpPr>
        <p:spPr>
          <a:xfrm>
            <a:off x="7465051" y="2891662"/>
            <a:ext cx="4187633" cy="745666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Multi-company logistics network servicing all client locations throughout the United States and Canada. Complete white-glove service, including packaging, loading, etc., at the client location.</a:t>
            </a:r>
            <a:endParaRPr 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1" name="Retângulo 8">
            <a:extLst>
              <a:ext uri="{FF2B5EF4-FFF2-40B4-BE49-F238E27FC236}">
                <a16:creationId xmlns:a16="http://schemas.microsoft.com/office/drawing/2014/main" id="{D0BA93C5-F51B-39D8-A88B-3ED197230300}"/>
              </a:ext>
            </a:extLst>
          </p:cNvPr>
          <p:cNvSpPr/>
          <p:nvPr/>
        </p:nvSpPr>
        <p:spPr>
          <a:xfrm>
            <a:off x="7465051" y="3757738"/>
            <a:ext cx="4187633" cy="62800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Two recyclers with 13 locations across the United States and Canada. </a:t>
            </a:r>
          </a:p>
        </p:txBody>
      </p:sp>
      <p:sp>
        <p:nvSpPr>
          <p:cNvPr id="22" name="Retângulo 8">
            <a:extLst>
              <a:ext uri="{FF2B5EF4-FFF2-40B4-BE49-F238E27FC236}">
                <a16:creationId xmlns:a16="http://schemas.microsoft.com/office/drawing/2014/main" id="{A0104C1C-57DE-B8B6-DB46-8F15BFF9E31B}"/>
              </a:ext>
            </a:extLst>
          </p:cNvPr>
          <p:cNvSpPr/>
          <p:nvPr/>
        </p:nvSpPr>
        <p:spPr>
          <a:xfrm>
            <a:off x="7465051" y="4513068"/>
            <a:ext cx="4187633" cy="62800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Recycling completed within 30 days of asset retrieval accompanied with recycling proof.</a:t>
            </a:r>
          </a:p>
        </p:txBody>
      </p:sp>
      <p:pic>
        <p:nvPicPr>
          <p:cNvPr id="3" name="Picture 2" descr="A map of the united states">
            <a:extLst>
              <a:ext uri="{FF2B5EF4-FFF2-40B4-BE49-F238E27FC236}">
                <a16:creationId xmlns:a16="http://schemas.microsoft.com/office/drawing/2014/main" id="{60E3DB48-3E0B-460F-22A5-E13B45C0A1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436" y="1118728"/>
            <a:ext cx="5491800" cy="5275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880972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1N0SrOzfLElyIvoNV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1N0SrOzfLElyIvoNV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1N0SrOzfLElyIvoNV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dUPJQvvj5i0UEVgSiZ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1N0SrOzfLElyIvoN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dUPJQvvj5i0UEVgSiZ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7L0AWV0W2WJYMMPOvi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2pPFpqZDxmGIlvpLSQ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Ge1VcmbgcEiZqrvr0D_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jn93iLrXuuEWpu4uwKp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VUk5LsWOnr4Tzmw2Jg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VrZMlCCbU9wTHdp1zc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a_Jk7HQIWvZSyXqiRKV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B9AFTK7jRf8ZmFIPlI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lFZHznKXLdj4ElqhM9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1N0SrOzfLElyIvoNVX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1N0SrOzfLElyIvoNV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WXPpCC8mf3DDljLrNjy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WXPpCC8mf3DDljLrNj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1N0SrOzfLElyIvoNV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jn93iLrXuuEWpu4uwKp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1N0SrOzfLElyIvoNVX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dUPJQvvj5i0UEVgSiZ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dUPJQvvj5i0UEVgSiZm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7L0AWV0W2WJYMMPOvi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I2pPFpqZDxmGIlvpLSQ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Ge1VcmbgcEiZqrvr0D_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VUk5LsWOnr4Tzmw2Jg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VrZMlCCbU9wTHdp1zc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a_Jk7HQIWvZSyXqiRKV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B9AFTK7jRf8ZmFIPlIa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lFZHznKXLdj4ElqhM9R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dUPJQvvj5i0UEVgSiZm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x1N0SrOzfLElyIvoNV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Landbell Template">
  <a:themeElements>
    <a:clrScheme name="Akzent 7">
      <a:dk1>
        <a:sysClr val="windowText" lastClr="000000"/>
      </a:dk1>
      <a:lt1>
        <a:sysClr val="window" lastClr="FFFFFF"/>
      </a:lt1>
      <a:dk2>
        <a:srgbClr val="404040"/>
      </a:dk2>
      <a:lt2>
        <a:srgbClr val="DADADA"/>
      </a:lt2>
      <a:accent1>
        <a:srgbClr val="76B82A"/>
      </a:accent1>
      <a:accent2>
        <a:srgbClr val="FF0000"/>
      </a:accent2>
      <a:accent3>
        <a:srgbClr val="0C297A"/>
      </a:accent3>
      <a:accent4>
        <a:srgbClr val="00B0F0"/>
      </a:accent4>
      <a:accent5>
        <a:srgbClr val="EE7BA9"/>
      </a:accent5>
      <a:accent6>
        <a:srgbClr val="EE7200"/>
      </a:accent6>
      <a:hlink>
        <a:srgbClr val="404040"/>
      </a:hlink>
      <a:folHlink>
        <a:srgbClr val="404040"/>
      </a:folHlink>
    </a:clrScheme>
    <a:fontScheme name="Landbell_Font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40404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5C5C5C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1900"/>
          </a:lnSpc>
          <a:spcBef>
            <a:spcPts val="1200"/>
          </a:spcBef>
          <a:defRPr sz="1600" noProof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andbell" id="{FAAD0364-ED93-494C-B859-5985E47C3A3D}" vid="{7C1063A4-95E4-4315-B53C-728905EAB190}"/>
    </a:ext>
  </a:extLst>
</a:theme>
</file>

<file path=ppt/theme/theme2.xml><?xml version="1.0" encoding="utf-8"?>
<a:theme xmlns:a="http://schemas.openxmlformats.org/drawingml/2006/main" name="2_Landbell Template">
  <a:themeElements>
    <a:clrScheme name="Akzent 7">
      <a:dk1>
        <a:sysClr val="windowText" lastClr="000000"/>
      </a:dk1>
      <a:lt1>
        <a:sysClr val="window" lastClr="FFFFFF"/>
      </a:lt1>
      <a:dk2>
        <a:srgbClr val="404040"/>
      </a:dk2>
      <a:lt2>
        <a:srgbClr val="DADADA"/>
      </a:lt2>
      <a:accent1>
        <a:srgbClr val="76B82A"/>
      </a:accent1>
      <a:accent2>
        <a:srgbClr val="FF0000"/>
      </a:accent2>
      <a:accent3>
        <a:srgbClr val="0C297A"/>
      </a:accent3>
      <a:accent4>
        <a:srgbClr val="00B0F0"/>
      </a:accent4>
      <a:accent5>
        <a:srgbClr val="EE7BA9"/>
      </a:accent5>
      <a:accent6>
        <a:srgbClr val="EE7200"/>
      </a:accent6>
      <a:hlink>
        <a:srgbClr val="404040"/>
      </a:hlink>
      <a:folHlink>
        <a:srgbClr val="404040"/>
      </a:folHlink>
    </a:clrScheme>
    <a:fontScheme name="Landbell_Font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40404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5C5C5C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1900"/>
          </a:lnSpc>
          <a:spcBef>
            <a:spcPts val="1200"/>
          </a:spcBef>
          <a:defRPr sz="1600" noProof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andbell" id="{FAAD0364-ED93-494C-B859-5985E47C3A3D}" vid="{7C1063A4-95E4-4315-B53C-728905EAB190}"/>
    </a:ext>
  </a:extLst>
</a:theme>
</file>

<file path=ppt/theme/theme3.xml><?xml version="1.0" encoding="utf-8"?>
<a:theme xmlns:a="http://schemas.openxmlformats.org/drawingml/2006/main" name="Office">
  <a:themeElements>
    <a:clrScheme name="Landbell_colors">
      <a:dk1>
        <a:sysClr val="windowText" lastClr="000000"/>
      </a:dk1>
      <a:lt1>
        <a:sysClr val="window" lastClr="FFFFFF"/>
      </a:lt1>
      <a:dk2>
        <a:srgbClr val="404040"/>
      </a:dk2>
      <a:lt2>
        <a:srgbClr val="8996A0"/>
      </a:lt2>
      <a:accent1>
        <a:srgbClr val="B1C91F"/>
      </a:accent1>
      <a:accent2>
        <a:srgbClr val="FF0000"/>
      </a:accent2>
      <a:accent3>
        <a:srgbClr val="0C297A"/>
      </a:accent3>
      <a:accent4>
        <a:srgbClr val="00B0F0"/>
      </a:accent4>
      <a:accent5>
        <a:srgbClr val="B8C0C6"/>
      </a:accent5>
      <a:accent6>
        <a:srgbClr val="E7EAEC"/>
      </a:accent6>
      <a:hlink>
        <a:srgbClr val="8996A0"/>
      </a:hlink>
      <a:folHlink>
        <a:srgbClr val="8996A0"/>
      </a:folHlink>
    </a:clrScheme>
    <a:fontScheme name="Landbell_font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Landbell_colors">
      <a:dk1>
        <a:sysClr val="windowText" lastClr="000000"/>
      </a:dk1>
      <a:lt1>
        <a:sysClr val="window" lastClr="FFFFFF"/>
      </a:lt1>
      <a:dk2>
        <a:srgbClr val="404040"/>
      </a:dk2>
      <a:lt2>
        <a:srgbClr val="8996A0"/>
      </a:lt2>
      <a:accent1>
        <a:srgbClr val="B1C91F"/>
      </a:accent1>
      <a:accent2>
        <a:srgbClr val="FF0000"/>
      </a:accent2>
      <a:accent3>
        <a:srgbClr val="0C297A"/>
      </a:accent3>
      <a:accent4>
        <a:srgbClr val="00B0F0"/>
      </a:accent4>
      <a:accent5>
        <a:srgbClr val="B8C0C6"/>
      </a:accent5>
      <a:accent6>
        <a:srgbClr val="E7EAEC"/>
      </a:accent6>
      <a:hlink>
        <a:srgbClr val="8996A0"/>
      </a:hlink>
      <a:folHlink>
        <a:srgbClr val="8996A0"/>
      </a:folHlink>
    </a:clrScheme>
    <a:fontScheme name="Landbell_font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916DE41B59D5C4580FF9B028AA61E60" ma:contentTypeVersion="15" ma:contentTypeDescription="Create a new document." ma:contentTypeScope="" ma:versionID="7d6ff660419829053b0791bd5adaee51">
  <xsd:schema xmlns:xsd="http://www.w3.org/2001/XMLSchema" xmlns:xs="http://www.w3.org/2001/XMLSchema" xmlns:p="http://schemas.microsoft.com/office/2006/metadata/properties" xmlns:ns2="5c8717b7-429b-4b64-bbd6-827ba3c90e90" xmlns:ns3="c9dbb7d5-167d-4588-a5ec-ca10606827f5" targetNamespace="http://schemas.microsoft.com/office/2006/metadata/properties" ma:root="true" ma:fieldsID="4540986241d3553e371f3670f8a1da5a" ns2:_="" ns3:_="">
    <xsd:import namespace="5c8717b7-429b-4b64-bbd6-827ba3c90e90"/>
    <xsd:import namespace="c9dbb7d5-167d-4588-a5ec-ca10606827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  <xsd:element ref="ns3:lcf76f155ced4ddcb4097134ff3c332f" minOccurs="0"/>
                <xsd:element ref="ns2:TaxCatchAll" minOccurs="0"/>
                <xsd:element ref="ns3:MediaServiceOCR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8717b7-429b-4b64-bbd6-827ba3c90e9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4e6aa9a0-07db-4069-973f-23254605b420}" ma:internalName="TaxCatchAll" ma:showField="CatchAllData" ma:web="5c8717b7-429b-4b64-bbd6-827ba3c90e9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dbb7d5-167d-4588-a5ec-ca10606827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1505d8c5-da8e-4576-a13c-c23d2f5041e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c8717b7-429b-4b64-bbd6-827ba3c90e90" xsi:nil="true"/>
    <lcf76f155ced4ddcb4097134ff3c332f xmlns="c9dbb7d5-167d-4588-a5ec-ca10606827f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99D2BE2-98F2-472E-8486-F26D02A690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8717b7-429b-4b64-bbd6-827ba3c90e90"/>
    <ds:schemaRef ds:uri="c9dbb7d5-167d-4588-a5ec-ca10606827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3DA9B8-15D7-4AE9-977F-A4274540AA4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B492A49-9AF7-4ED1-B19E-3FFB8ACC53BD}">
  <ds:schemaRefs>
    <ds:schemaRef ds:uri="http://schemas.microsoft.com/office/2006/documentManagement/types"/>
    <ds:schemaRef ds:uri="http://purl.org/dc/terms/"/>
    <ds:schemaRef ds:uri="http://www.w3.org/XML/1998/namespace"/>
    <ds:schemaRef ds:uri="http://schemas.microsoft.com/office/infopath/2007/PartnerControls"/>
    <ds:schemaRef ds:uri="http://purl.org/dc/elements/1.1/"/>
    <ds:schemaRef ds:uri="http://schemas.microsoft.com/office/2006/metadata/properties"/>
    <ds:schemaRef ds:uri="35a9f8bb-d326-4450-ace8-29ef0f67be4a"/>
    <ds:schemaRef ds:uri="http://schemas.openxmlformats.org/package/2006/metadata/core-properties"/>
    <ds:schemaRef ds:uri="69531a21-9929-4d04-a82b-32c1a3e71df0"/>
    <ds:schemaRef ds:uri="http://purl.org/dc/dcmitype/"/>
    <ds:schemaRef ds:uri="5c8717b7-429b-4b64-bbd6-827ba3c90e90"/>
    <ds:schemaRef ds:uri="c9dbb7d5-167d-4588-a5ec-ca10606827f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andbell</Template>
  <TotalTime>3</TotalTime>
  <Words>404</Words>
  <Application>Microsoft Office PowerPoint</Application>
  <PresentationFormat>Widescreen</PresentationFormat>
  <Paragraphs>3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alibri Light</vt:lpstr>
      <vt:lpstr>Symbol</vt:lpstr>
      <vt:lpstr>Wingdings</vt:lpstr>
      <vt:lpstr>1_Landbell Template</vt:lpstr>
      <vt:lpstr>2_Landbell Template</vt:lpstr>
      <vt:lpstr>think-cell Folie</vt:lpstr>
      <vt:lpstr>Circular Economy Engineering Case Study</vt:lpstr>
      <vt:lpstr>PowerPoint Presentation</vt:lpstr>
      <vt:lpstr>PowerPoint Presentation</vt:lpstr>
    </vt:vector>
  </TitlesOfParts>
  <Company>Landbell</Company>
  <LinksUpToDate>false</LinksUpToDate>
  <SharedDoc>false</SharedDoc>
  <HyperlinkBase>Landbell.de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ndbell PowerPoint Master</dc:title>
  <dc:creator>Why-Not-Orange.com</dc:creator>
  <cp:lastModifiedBy>Aytuel Irem Meyer</cp:lastModifiedBy>
  <cp:revision>26</cp:revision>
  <cp:lastPrinted>2021-09-14T07:01:43Z</cp:lastPrinted>
  <dcterms:created xsi:type="dcterms:W3CDTF">2016-10-29T13:56:24Z</dcterms:created>
  <dcterms:modified xsi:type="dcterms:W3CDTF">2023-08-03T13:34:30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916DE41B59D5C4580FF9B028AA61E60</vt:lpwstr>
  </property>
  <property fmtid="{D5CDD505-2E9C-101B-9397-08002B2CF9AE}" pid="3" name="Order">
    <vt:r8>100</vt:r8>
  </property>
  <property fmtid="{D5CDD505-2E9C-101B-9397-08002B2CF9AE}" pid="4" name="_dlc_DocIdItemGuid">
    <vt:lpwstr>f156588d-ffbe-41e1-ae8c-25795621aa4a</vt:lpwstr>
  </property>
  <property fmtid="{D5CDD505-2E9C-101B-9397-08002B2CF9AE}" pid="5" name="MediaServiceImageTags">
    <vt:lpwstr/>
  </property>
</Properties>
</file>